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ags/tag39.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40.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41.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tags/tag42.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43.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tags/tag44.xml" ContentType="application/vnd.openxmlformats-officedocument.presentationml.tags+xml"/>
  <Override PartName="/ppt/charts/chart35.xml" ContentType="application/vnd.openxmlformats-officedocument.drawingml.chart+xml"/>
  <Override PartName="/ppt/charts/chart36.xml" ContentType="application/vnd.openxmlformats-officedocument.drawingml.chart+xml"/>
  <Override PartName="/ppt/tags/tag45.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tags/tag46.xml" ContentType="application/vnd.openxmlformats-officedocument.presentationml.tags+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tags/tag47.xml" ContentType="application/vnd.openxmlformats-officedocument.presentationml.tags+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8.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tags/tag49.xml" ContentType="application/vnd.openxmlformats-officedocument.presentationml.tags+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tags/tag50.xml" ContentType="application/vnd.openxmlformats-officedocument.presentationml.tags+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51.xml" ContentType="application/vnd.openxmlformats-officedocument.presentationml.tags+xml"/>
  <Override PartName="/ppt/charts/chart61.xml" ContentType="application/vnd.openxmlformats-officedocument.drawingml.chart+xml"/>
  <Override PartName="/ppt/tags/tag52.xml" ContentType="application/vnd.openxmlformats-officedocument.presentationml.tags+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tags/tag53.xml" ContentType="application/vnd.openxmlformats-officedocument.presentationml.tags+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4.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tags/tag55.xml" ContentType="application/vnd.openxmlformats-officedocument.presentationml.tags+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tags/tag56.xml" ContentType="application/vnd.openxmlformats-officedocument.presentationml.tags+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7.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tags/tag58.xml" ContentType="application/vnd.openxmlformats-officedocument.presentationml.tags+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9.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tags/tag60.xml" ContentType="application/vnd.openxmlformats-officedocument.presentationml.tags+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ags/tag61.xml" ContentType="application/vnd.openxmlformats-officedocument.presentationml.tags+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2.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tags/tag63.xml" ContentType="application/vnd.openxmlformats-officedocument.presentationml.tags+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tags/tag64.xml" ContentType="application/vnd.openxmlformats-officedocument.presentationml.tags+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tags/tag66.xml" ContentType="application/vnd.openxmlformats-officedocument.presentationml.tags+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tags/tag67.xml" ContentType="application/vnd.openxmlformats-officedocument.presentationml.tags+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tags/tag69.xml" ContentType="application/vnd.openxmlformats-officedocument.presentationml.tags+xml"/>
  <Override PartName="/ppt/charts/chart122.xml" ContentType="application/vnd.openxmlformats-officedocument.drawingml.chart+xml"/>
  <Override PartName="/ppt/tags/tag70.xml" ContentType="application/vnd.openxmlformats-officedocument.presentationml.tags+xml"/>
  <Override PartName="/ppt/charts/chart123.xml" ContentType="application/vnd.openxmlformats-officedocument.drawingml.chart+xml"/>
  <Override PartName="/ppt/tags/tag71.xml" ContentType="application/vnd.openxmlformats-officedocument.presentationml.tags+xml"/>
  <Override PartName="/ppt/charts/chart124.xml" ContentType="application/vnd.openxmlformats-officedocument.drawingml.chart+xml"/>
  <Override PartName="/ppt/tags/tag72.xml" ContentType="application/vnd.openxmlformats-officedocument.presentationml.tags+xml"/>
  <Override PartName="/ppt/charts/chart125.xml" ContentType="application/vnd.openxmlformats-officedocument.drawingml.chart+xml"/>
  <Override PartName="/ppt/tags/tag73.xml" ContentType="application/vnd.openxmlformats-officedocument.presentationml.tags+xml"/>
  <Override PartName="/ppt/charts/chart126.xml" ContentType="application/vnd.openxmlformats-officedocument.drawingml.chart+xml"/>
  <Override PartName="/ppt/tags/tag74.xml" ContentType="application/vnd.openxmlformats-officedocument.presentationml.tags+xml"/>
  <Override PartName="/ppt/charts/chart127.xml" ContentType="application/vnd.openxmlformats-officedocument.drawingml.chart+xml"/>
  <Override PartName="/ppt/tags/tag75.xml" ContentType="application/vnd.openxmlformats-officedocument.presentationml.tags+xml"/>
  <Override PartName="/ppt/charts/chart128.xml" ContentType="application/vnd.openxmlformats-officedocument.drawingml.chart+xml"/>
  <Override PartName="/ppt/tags/tag76.xml" ContentType="application/vnd.openxmlformats-officedocument.presentationml.tags+xml"/>
  <Override PartName="/ppt/charts/chart129.xml" ContentType="application/vnd.openxmlformats-officedocument.drawingml.chart+xml"/>
  <Override PartName="/ppt/tags/tag77.xml" ContentType="application/vnd.openxmlformats-officedocument.presentationml.tags+xml"/>
  <Override PartName="/ppt/charts/chart130.xml" ContentType="application/vnd.openxmlformats-officedocument.drawingml.chart+xml"/>
  <Override PartName="/ppt/tags/tag78.xml" ContentType="application/vnd.openxmlformats-officedocument.presentationml.tags+xml"/>
  <Override PartName="/ppt/charts/chart131.xml" ContentType="application/vnd.openxmlformats-officedocument.drawingml.chart+xml"/>
  <Override PartName="/ppt/tags/tag79.xml" ContentType="application/vnd.openxmlformats-officedocument.presentationml.tags+xml"/>
  <Override PartName="/ppt/charts/chart132.xml" ContentType="application/vnd.openxmlformats-officedocument.drawingml.chart+xml"/>
  <Override PartName="/ppt/tags/tag80.xml" ContentType="application/vnd.openxmlformats-officedocument.presentationml.tags+xml"/>
  <Override PartName="/ppt/charts/chart133.xml" ContentType="application/vnd.openxmlformats-officedocument.drawingml.chart+xml"/>
  <Override PartName="/ppt/tags/tag81.xml" ContentType="application/vnd.openxmlformats-officedocument.presentationml.tags+xml"/>
  <Override PartName="/ppt/charts/chart134.xml" ContentType="application/vnd.openxmlformats-officedocument.drawingml.chart+xml"/>
  <Override PartName="/ppt/tags/tag82.xml" ContentType="application/vnd.openxmlformats-officedocument.presentationml.tags+xml"/>
  <Override PartName="/ppt/charts/chart135.xml" ContentType="application/vnd.openxmlformats-officedocument.drawingml.chart+xml"/>
  <Override PartName="/ppt/tags/tag83.xml" ContentType="application/vnd.openxmlformats-officedocument.presentationml.tags+xml"/>
  <Override PartName="/ppt/charts/chart136.xml" ContentType="application/vnd.openxmlformats-officedocument.drawingml.chart+xml"/>
  <Override PartName="/ppt/tags/tag84.xml" ContentType="application/vnd.openxmlformats-officedocument.presentationml.tags+xml"/>
  <Override PartName="/ppt/charts/chart137.xml" ContentType="application/vnd.openxmlformats-officedocument.drawingml.chart+xml"/>
  <Override PartName="/ppt/tags/tag85.xml" ContentType="application/vnd.openxmlformats-officedocument.presentationml.tags+xml"/>
  <Override PartName="/ppt/charts/chart138.xml" ContentType="application/vnd.openxmlformats-officedocument.drawingml.chart+xml"/>
  <Override PartName="/ppt/tags/tag86.xml" ContentType="application/vnd.openxmlformats-officedocument.presentationml.tags+xml"/>
  <Override PartName="/ppt/charts/chart139.xml" ContentType="application/vnd.openxmlformats-officedocument.drawingml.chart+xml"/>
  <Override PartName="/ppt/tags/tag87.xml" ContentType="application/vnd.openxmlformats-officedocument.presentationml.tags+xml"/>
  <Override PartName="/ppt/charts/chart140.xml" ContentType="application/vnd.openxmlformats-officedocument.drawingml.chart+xml"/>
  <Override PartName="/ppt/tags/tag88.xml" ContentType="application/vnd.openxmlformats-officedocument.presentationml.tags+xml"/>
  <Override PartName="/ppt/charts/chart141.xml" ContentType="application/vnd.openxmlformats-officedocument.drawingml.chart+xml"/>
  <Override PartName="/ppt/tags/tag89.xml" ContentType="application/vnd.openxmlformats-officedocument.presentationml.tags+xml"/>
  <Override PartName="/ppt/charts/chart142.xml" ContentType="application/vnd.openxmlformats-officedocument.drawingml.chart+xml"/>
  <Override PartName="/ppt/tags/tag90.xml" ContentType="application/vnd.openxmlformats-officedocument.presentationml.tags+xml"/>
  <Override PartName="/ppt/charts/chart143.xml" ContentType="application/vnd.openxmlformats-officedocument.drawingml.chart+xml"/>
  <Override PartName="/ppt/tags/tag91.xml" ContentType="application/vnd.openxmlformats-officedocument.presentationml.tags+xml"/>
  <Override PartName="/ppt/charts/chart144.xml" ContentType="application/vnd.openxmlformats-officedocument.drawingml.chart+xml"/>
  <Override PartName="/ppt/tags/tag92.xml" ContentType="application/vnd.openxmlformats-officedocument.presentationml.tags+xml"/>
  <Override PartName="/ppt/charts/chart145.xml" ContentType="application/vnd.openxmlformats-officedocument.drawingml.chart+xml"/>
  <Override PartName="/ppt/tags/tag93.xml" ContentType="application/vnd.openxmlformats-officedocument.presentationml.tags+xml"/>
  <Override PartName="/ppt/charts/chart146.xml" ContentType="application/vnd.openxmlformats-officedocument.drawingml.chart+xml"/>
  <Override PartName="/ppt/tags/tag94.xml" ContentType="application/vnd.openxmlformats-officedocument.presentationml.tags+xml"/>
  <Override PartName="/ppt/charts/chart147.xml" ContentType="application/vnd.openxmlformats-officedocument.drawingml.chart+xml"/>
  <Override PartName="/ppt/tags/tag95.xml" ContentType="application/vnd.openxmlformats-officedocument.presentationml.tags+xml"/>
  <Override PartName="/ppt/charts/chart148.xml" ContentType="application/vnd.openxmlformats-officedocument.drawingml.chart+xml"/>
  <Override PartName="/ppt/tags/tag96.xml" ContentType="application/vnd.openxmlformats-officedocument.presentationml.tags+xml"/>
  <Override PartName="/ppt/charts/chart149.xml" ContentType="application/vnd.openxmlformats-officedocument.drawingml.chart+xml"/>
  <Override PartName="/ppt/tags/tag97.xml" ContentType="application/vnd.openxmlformats-officedocument.presentationml.tags+xml"/>
  <Override PartName="/ppt/charts/chart150.xml" ContentType="application/vnd.openxmlformats-officedocument.drawingml.chart+xml"/>
  <Override PartName="/ppt/tags/tag98.xml" ContentType="application/vnd.openxmlformats-officedocument.presentationml.tags+xml"/>
  <Override PartName="/ppt/charts/chart151.xml" ContentType="application/vnd.openxmlformats-officedocument.drawingml.chart+xml"/>
  <Override PartName="/ppt/tags/tag99.xml" ContentType="application/vnd.openxmlformats-officedocument.presentationml.tags+xml"/>
  <Override PartName="/ppt/charts/chart152.xml" ContentType="application/vnd.openxmlformats-officedocument.drawingml.chart+xml"/>
  <Override PartName="/ppt/tags/tag100.xml" ContentType="application/vnd.openxmlformats-officedocument.presentationml.tags+xml"/>
  <Override PartName="/ppt/charts/chart153.xml" ContentType="application/vnd.openxmlformats-officedocument.drawingml.chart+xml"/>
  <Override PartName="/ppt/tags/tag101.xml" ContentType="application/vnd.openxmlformats-officedocument.presentationml.tags+xml"/>
  <Override PartName="/ppt/charts/chart154.xml" ContentType="application/vnd.openxmlformats-officedocument.drawingml.chart+xml"/>
  <Override PartName="/ppt/tags/tag102.xml" ContentType="application/vnd.openxmlformats-officedocument.presentationml.tags+xml"/>
  <Override PartName="/ppt/charts/chart155.xml" ContentType="application/vnd.openxmlformats-officedocument.drawingml.chart+xml"/>
  <Override PartName="/ppt/tags/tag103.xml" ContentType="application/vnd.openxmlformats-officedocument.presentationml.tags+xml"/>
  <Override PartName="/ppt/charts/chart156.xml" ContentType="application/vnd.openxmlformats-officedocument.drawingml.chart+xml"/>
  <Override PartName="/ppt/tags/tag104.xml" ContentType="application/vnd.openxmlformats-officedocument.presentationml.tags+xml"/>
  <Override PartName="/ppt/charts/chart157.xml" ContentType="application/vnd.openxmlformats-officedocument.drawingml.chart+xml"/>
  <Override PartName="/ppt/tags/tag105.xml" ContentType="application/vnd.openxmlformats-officedocument.presentationml.tags+xml"/>
  <Override PartName="/ppt/charts/chart158.xml" ContentType="application/vnd.openxmlformats-officedocument.drawingml.chart+xml"/>
  <Override PartName="/ppt/tags/tag106.xml" ContentType="application/vnd.openxmlformats-officedocument.presentationml.tags+xml"/>
  <Override PartName="/ppt/charts/chart159.xml" ContentType="application/vnd.openxmlformats-officedocument.drawingml.chart+xml"/>
  <Override PartName="/ppt/tags/tag107.xml" ContentType="application/vnd.openxmlformats-officedocument.presentationml.tags+xml"/>
  <Override PartName="/ppt/charts/chart160.xml" ContentType="application/vnd.openxmlformats-officedocument.drawingml.chart+xml"/>
  <Override PartName="/ppt/tags/tag108.xml" ContentType="application/vnd.openxmlformats-officedocument.presentationml.tags+xml"/>
  <Override PartName="/ppt/charts/chart161.xml" ContentType="application/vnd.openxmlformats-officedocument.drawingml.chart+xml"/>
  <Override PartName="/ppt/tags/tag109.xml" ContentType="application/vnd.openxmlformats-officedocument.presentationml.tags+xml"/>
  <Override PartName="/ppt/charts/chart162.xml" ContentType="application/vnd.openxmlformats-officedocument.drawingml.chart+xml"/>
  <Override PartName="/ppt/tags/tag110.xml" ContentType="application/vnd.openxmlformats-officedocument.presentationml.tags+xml"/>
  <Override PartName="/ppt/charts/chart163.xml" ContentType="application/vnd.openxmlformats-officedocument.drawingml.chart+xml"/>
  <Override PartName="/ppt/tags/tag111.xml" ContentType="application/vnd.openxmlformats-officedocument.presentationml.tags+xml"/>
  <Override PartName="/ppt/charts/chart164.xml" ContentType="application/vnd.openxmlformats-officedocument.drawingml.chart+xml"/>
  <Override PartName="/ppt/tags/tag112.xml" ContentType="application/vnd.openxmlformats-officedocument.presentationml.tags+xml"/>
  <Override PartName="/ppt/charts/chart165.xml" ContentType="application/vnd.openxmlformats-officedocument.drawingml.chart+xml"/>
  <Override PartName="/ppt/tags/tag113.xml" ContentType="application/vnd.openxmlformats-officedocument.presentationml.tags+xml"/>
  <Override PartName="/ppt/charts/chart166.xml" ContentType="application/vnd.openxmlformats-officedocument.drawingml.chart+xml"/>
  <Override PartName="/ppt/tags/tag114.xml" ContentType="application/vnd.openxmlformats-officedocument.presentationml.tags+xml"/>
  <Override PartName="/ppt/charts/chart167.xml" ContentType="application/vnd.openxmlformats-officedocument.drawingml.chart+xml"/>
  <Override PartName="/ppt/tags/tag115.xml" ContentType="application/vnd.openxmlformats-officedocument.presentationml.tags+xml"/>
  <Override PartName="/ppt/charts/chart168.xml" ContentType="application/vnd.openxmlformats-officedocument.drawingml.chart+xml"/>
  <Override PartName="/ppt/tags/tag116.xml" ContentType="application/vnd.openxmlformats-officedocument.presentationml.tags+xml"/>
  <Override PartName="/ppt/charts/chart169.xml" ContentType="application/vnd.openxmlformats-officedocument.drawingml.chart+xml"/>
  <Override PartName="/ppt/tags/tag117.xml" ContentType="application/vnd.openxmlformats-officedocument.presentationml.tags+xml"/>
  <Override PartName="/ppt/charts/chart170.xml" ContentType="application/vnd.openxmlformats-officedocument.drawingml.chart+xml"/>
  <Override PartName="/ppt/tags/tag118.xml" ContentType="application/vnd.openxmlformats-officedocument.presentationml.tags+xml"/>
  <Override PartName="/ppt/charts/chart171.xml" ContentType="application/vnd.openxmlformats-officedocument.drawingml.chart+xml"/>
  <Override PartName="/ppt/tags/tag119.xml" ContentType="application/vnd.openxmlformats-officedocument.presentationml.tags+xml"/>
  <Override PartName="/ppt/charts/chart172.xml" ContentType="application/vnd.openxmlformats-officedocument.drawingml.chart+xml"/>
  <Override PartName="/ppt/tags/tag120.xml" ContentType="application/vnd.openxmlformats-officedocument.presentationml.tags+xml"/>
  <Override PartName="/ppt/charts/chart173.xml" ContentType="application/vnd.openxmlformats-officedocument.drawingml.chart+xml"/>
  <Override PartName="/ppt/tags/tag121.xml" ContentType="application/vnd.openxmlformats-officedocument.presentationml.tags+xml"/>
  <Override PartName="/ppt/charts/chart174.xml" ContentType="application/vnd.openxmlformats-officedocument.drawingml.chart+xml"/>
  <Override PartName="/ppt/tags/tag122.xml" ContentType="application/vnd.openxmlformats-officedocument.presentationml.tags+xml"/>
  <Override PartName="/ppt/charts/chart175.xml" ContentType="application/vnd.openxmlformats-officedocument.drawingml.chart+xml"/>
  <Override PartName="/ppt/tags/tag123.xml" ContentType="application/vnd.openxmlformats-officedocument.presentationml.tags+xml"/>
  <Override PartName="/ppt/charts/chart176.xml" ContentType="application/vnd.openxmlformats-officedocument.drawingml.chart+xml"/>
  <Override PartName="/ppt/tags/tag124.xml" ContentType="application/vnd.openxmlformats-officedocument.presentationml.tags+xml"/>
  <Override PartName="/ppt/charts/chart177.xml" ContentType="application/vnd.openxmlformats-officedocument.drawingml.chart+xml"/>
  <Override PartName="/ppt/tags/tag125.xml" ContentType="application/vnd.openxmlformats-officedocument.presentationml.tags+xml"/>
  <Override PartName="/ppt/charts/chart178.xml" ContentType="application/vnd.openxmlformats-officedocument.drawingml.chart+xml"/>
  <Override PartName="/ppt/tags/tag126.xml" ContentType="application/vnd.openxmlformats-officedocument.presentationml.tags+xml"/>
  <Override PartName="/ppt/charts/chart179.xml" ContentType="application/vnd.openxmlformats-officedocument.drawingml.chart+xml"/>
  <Override PartName="/ppt/tags/tag127.xml" ContentType="application/vnd.openxmlformats-officedocument.presentationml.tags+xml"/>
  <Override PartName="/ppt/charts/chart180.xml" ContentType="application/vnd.openxmlformats-officedocument.drawingml.chart+xml"/>
  <Override PartName="/ppt/tags/tag128.xml" ContentType="application/vnd.openxmlformats-officedocument.presentationml.tags+xml"/>
  <Override PartName="/ppt/charts/chart181.xml" ContentType="application/vnd.openxmlformats-officedocument.drawingml.chart+xml"/>
  <Override PartName="/ppt/tags/tag129.xml" ContentType="application/vnd.openxmlformats-officedocument.presentationml.tags+xml"/>
  <Override PartName="/ppt/charts/chart182.xml" ContentType="application/vnd.openxmlformats-officedocument.drawingml.chart+xml"/>
  <Override PartName="/ppt/tags/tag130.xml" ContentType="application/vnd.openxmlformats-officedocument.presentationml.tags+xml"/>
  <Override PartName="/ppt/charts/chart183.xml" ContentType="application/vnd.openxmlformats-officedocument.drawingml.chart+xml"/>
  <Override PartName="/ppt/tags/tag131.xml" ContentType="application/vnd.openxmlformats-officedocument.presentationml.tags+xml"/>
  <Override PartName="/ppt/charts/chart184.xml" ContentType="application/vnd.openxmlformats-officedocument.drawingml.chart+xml"/>
  <Override PartName="/ppt/tags/tag132.xml" ContentType="application/vnd.openxmlformats-officedocument.presentationml.tags+xml"/>
  <Override PartName="/ppt/charts/chart185.xml" ContentType="application/vnd.openxmlformats-officedocument.drawingml.chart+xml"/>
  <Override PartName="/ppt/tags/tag133.xml" ContentType="application/vnd.openxmlformats-officedocument.presentationml.tags+xml"/>
  <Override PartName="/ppt/charts/chart186.xml" ContentType="application/vnd.openxmlformats-officedocument.drawingml.chart+xml"/>
  <Override PartName="/ppt/tags/tag134.xml" ContentType="application/vnd.openxmlformats-officedocument.presentationml.tags+xml"/>
  <Override PartName="/ppt/charts/chart187.xml" ContentType="application/vnd.openxmlformats-officedocument.drawingml.chart+xml"/>
  <Override PartName="/ppt/tags/tag135.xml" ContentType="application/vnd.openxmlformats-officedocument.presentationml.tags+xml"/>
  <Override PartName="/ppt/charts/chart188.xml" ContentType="application/vnd.openxmlformats-officedocument.drawingml.chart+xml"/>
  <Override PartName="/ppt/tags/tag136.xml" ContentType="application/vnd.openxmlformats-officedocument.presentationml.tags+xml"/>
  <Override PartName="/ppt/charts/chart189.xml" ContentType="application/vnd.openxmlformats-officedocument.drawingml.chart+xml"/>
  <Override PartName="/ppt/tags/tag137.xml" ContentType="application/vnd.openxmlformats-officedocument.presentationml.tags+xml"/>
  <Override PartName="/ppt/charts/chart190.xml" ContentType="application/vnd.openxmlformats-officedocument.drawingml.chart+xml"/>
  <Override PartName="/ppt/tags/tag138.xml" ContentType="application/vnd.openxmlformats-officedocument.presentationml.tags+xml"/>
  <Override PartName="/ppt/charts/chart191.xml" ContentType="application/vnd.openxmlformats-officedocument.drawingml.chart+xml"/>
  <Override PartName="/ppt/tags/tag139.xml" ContentType="application/vnd.openxmlformats-officedocument.presentationml.tags+xml"/>
  <Override PartName="/ppt/charts/chart192.xml" ContentType="application/vnd.openxmlformats-officedocument.drawingml.chart+xml"/>
  <Override PartName="/ppt/tags/tag140.xml" ContentType="application/vnd.openxmlformats-officedocument.presentationml.tags+xml"/>
  <Override PartName="/ppt/charts/chart193.xml" ContentType="application/vnd.openxmlformats-officedocument.drawingml.chart+xml"/>
  <Override PartName="/ppt/tags/tag141.xml" ContentType="application/vnd.openxmlformats-officedocument.presentationml.tags+xml"/>
  <Override PartName="/ppt/charts/chart194.xml" ContentType="application/vnd.openxmlformats-officedocument.drawingml.chart+xml"/>
  <Override PartName="/ppt/tags/tag142.xml" ContentType="application/vnd.openxmlformats-officedocument.presentationml.tags+xml"/>
  <Override PartName="/ppt/charts/chart195.xml" ContentType="application/vnd.openxmlformats-officedocument.drawingml.chart+xml"/>
  <Override PartName="/ppt/tags/tag143.xml" ContentType="application/vnd.openxmlformats-officedocument.presentationml.tags+xml"/>
  <Override PartName="/ppt/charts/chart196.xml" ContentType="application/vnd.openxmlformats-officedocument.drawingml.chart+xml"/>
  <Override PartName="/ppt/tags/tag144.xml" ContentType="application/vnd.openxmlformats-officedocument.presentationml.tags+xml"/>
  <Override PartName="/ppt/charts/chart197.xml" ContentType="application/vnd.openxmlformats-officedocument.drawingml.chart+xml"/>
  <Override PartName="/ppt/tags/tag145.xml" ContentType="application/vnd.openxmlformats-officedocument.presentationml.tags+xml"/>
  <Override PartName="/ppt/charts/chart198.xml" ContentType="application/vnd.openxmlformats-officedocument.drawingml.chart+xml"/>
  <Override PartName="/ppt/tags/tag146.xml" ContentType="application/vnd.openxmlformats-officedocument.presentationml.tags+xml"/>
  <Override PartName="/ppt/charts/chart199.xml" ContentType="application/vnd.openxmlformats-officedocument.drawingml.chart+xml"/>
  <Override PartName="/ppt/tags/tag147.xml" ContentType="application/vnd.openxmlformats-officedocument.presentationml.tags+xml"/>
  <Override PartName="/ppt/charts/chart200.xml" ContentType="application/vnd.openxmlformats-officedocument.drawingml.chart+xml"/>
  <Override PartName="/ppt/tags/tag148.xml" ContentType="application/vnd.openxmlformats-officedocument.presentationml.tags+xml"/>
  <Override PartName="/ppt/charts/chart201.xml" ContentType="application/vnd.openxmlformats-officedocument.drawingml.chart+xml"/>
  <Override PartName="/ppt/tags/tag149.xml" ContentType="application/vnd.openxmlformats-officedocument.presentationml.tags+xml"/>
  <Override PartName="/ppt/charts/chart202.xml" ContentType="application/vnd.openxmlformats-officedocument.drawingml.chart+xml"/>
  <Override PartName="/ppt/tags/tag150.xml" ContentType="application/vnd.openxmlformats-officedocument.presentationml.tags+xml"/>
  <Override PartName="/ppt/charts/chart203.xml" ContentType="application/vnd.openxmlformats-officedocument.drawingml.chart+xml"/>
  <Override PartName="/ppt/tags/tag151.xml" ContentType="application/vnd.openxmlformats-officedocument.presentationml.tags+xml"/>
  <Override PartName="/ppt/charts/chart204.xml" ContentType="application/vnd.openxmlformats-officedocument.drawingml.chart+xml"/>
  <Override PartName="/ppt/tags/tag152.xml" ContentType="application/vnd.openxmlformats-officedocument.presentationml.tags+xml"/>
  <Override PartName="/ppt/charts/chart205.xml" ContentType="application/vnd.openxmlformats-officedocument.drawingml.chart+xml"/>
  <Override PartName="/ppt/tags/tag153.xml" ContentType="application/vnd.openxmlformats-officedocument.presentationml.tags+xml"/>
  <Override PartName="/ppt/charts/chart206.xml" ContentType="application/vnd.openxmlformats-officedocument.drawingml.chart+xml"/>
  <Override PartName="/ppt/tags/tag154.xml" ContentType="application/vnd.openxmlformats-officedocument.presentationml.tags+xml"/>
  <Override PartName="/ppt/charts/chart207.xml" ContentType="application/vnd.openxmlformats-officedocument.drawingml.chart+xml"/>
  <Override PartName="/ppt/tags/tag155.xml" ContentType="application/vnd.openxmlformats-officedocument.presentationml.tags+xml"/>
  <Override PartName="/ppt/charts/chart208.xml" ContentType="application/vnd.openxmlformats-officedocument.drawingml.chart+xml"/>
  <Override PartName="/ppt/tags/tag156.xml" ContentType="application/vnd.openxmlformats-officedocument.presentationml.tags+xml"/>
  <Override PartName="/ppt/charts/chart209.xml" ContentType="application/vnd.openxmlformats-officedocument.drawingml.chart+xml"/>
  <Override PartName="/ppt/tags/tag157.xml" ContentType="application/vnd.openxmlformats-officedocument.presentationml.tags+xml"/>
  <Override PartName="/ppt/charts/chart210.xml" ContentType="application/vnd.openxmlformats-officedocument.drawingml.chart+xml"/>
  <Override PartName="/ppt/tags/tag158.xml" ContentType="application/vnd.openxmlformats-officedocument.presentationml.tags+xml"/>
  <Override PartName="/ppt/charts/chart211.xml" ContentType="application/vnd.openxmlformats-officedocument.drawingml.chart+xml"/>
  <Override PartName="/ppt/tags/tag159.xml" ContentType="application/vnd.openxmlformats-officedocument.presentationml.tags+xml"/>
  <Override PartName="/ppt/charts/chart212.xml" ContentType="application/vnd.openxmlformats-officedocument.drawingml.chart+xml"/>
  <Override PartName="/ppt/tags/tag160.xml" ContentType="application/vnd.openxmlformats-officedocument.presentationml.tags+xml"/>
  <Override PartName="/ppt/charts/chart213.xml" ContentType="application/vnd.openxmlformats-officedocument.drawingml.chart+xml"/>
  <Override PartName="/ppt/tags/tag161.xml" ContentType="application/vnd.openxmlformats-officedocument.presentationml.tags+xml"/>
  <Override PartName="/ppt/charts/chart214.xml" ContentType="application/vnd.openxmlformats-officedocument.drawingml.chart+xml"/>
  <Override PartName="/ppt/tags/tag162.xml" ContentType="application/vnd.openxmlformats-officedocument.presentationml.tags+xml"/>
  <Override PartName="/ppt/charts/chart215.xml" ContentType="application/vnd.openxmlformats-officedocument.drawingml.chart+xml"/>
  <Override PartName="/ppt/tags/tag163.xml" ContentType="application/vnd.openxmlformats-officedocument.presentationml.tags+xml"/>
  <Override PartName="/ppt/charts/chart216.xml" ContentType="application/vnd.openxmlformats-officedocument.drawingml.chart+xml"/>
  <Override PartName="/ppt/tags/tag164.xml" ContentType="application/vnd.openxmlformats-officedocument.presentationml.tags+xml"/>
  <Override PartName="/ppt/charts/chart217.xml" ContentType="application/vnd.openxmlformats-officedocument.drawingml.chart+xml"/>
  <Override PartName="/ppt/tags/tag165.xml" ContentType="application/vnd.openxmlformats-officedocument.presentationml.tags+xml"/>
  <Override PartName="/ppt/charts/chart218.xml" ContentType="application/vnd.openxmlformats-officedocument.drawingml.chart+xml"/>
  <Override PartName="/ppt/tags/tag166.xml" ContentType="application/vnd.openxmlformats-officedocument.presentationml.tags+xml"/>
  <Override PartName="/ppt/charts/chart219.xml" ContentType="application/vnd.openxmlformats-officedocument.drawingml.chart+xml"/>
  <Override PartName="/ppt/tags/tag167.xml" ContentType="application/vnd.openxmlformats-officedocument.presentationml.tags+xml"/>
  <Override PartName="/ppt/charts/chart220.xml" ContentType="application/vnd.openxmlformats-officedocument.drawingml.chart+xml"/>
  <Override PartName="/ppt/tags/tag168.xml" ContentType="application/vnd.openxmlformats-officedocument.presentationml.tags+xml"/>
  <Override PartName="/ppt/charts/chart221.xml" ContentType="application/vnd.openxmlformats-officedocument.drawingml.chart+xml"/>
  <Override PartName="/ppt/tags/tag169.xml" ContentType="application/vnd.openxmlformats-officedocument.presentationml.tags+xml"/>
  <Override PartName="/ppt/charts/chart222.xml" ContentType="application/vnd.openxmlformats-officedocument.drawingml.chart+xml"/>
  <Override PartName="/ppt/tags/tag170.xml" ContentType="application/vnd.openxmlformats-officedocument.presentationml.tags+xml"/>
  <Override PartName="/ppt/charts/chart223.xml" ContentType="application/vnd.openxmlformats-officedocument.drawingml.chart+xml"/>
  <Override PartName="/ppt/tags/tag171.xml" ContentType="application/vnd.openxmlformats-officedocument.presentationml.tags+xml"/>
  <Override PartName="/ppt/charts/chart224.xml" ContentType="application/vnd.openxmlformats-officedocument.drawingml.chart+xml"/>
  <Override PartName="/ppt/tags/tag172.xml" ContentType="application/vnd.openxmlformats-officedocument.presentationml.tags+xml"/>
  <Override PartName="/ppt/charts/chart225.xml" ContentType="application/vnd.openxmlformats-officedocument.drawingml.chart+xml"/>
  <Override PartName="/ppt/tags/tag173.xml" ContentType="application/vnd.openxmlformats-officedocument.presentationml.tags+xml"/>
  <Override PartName="/ppt/charts/chart226.xml" ContentType="application/vnd.openxmlformats-officedocument.drawingml.chart+xml"/>
  <Override PartName="/ppt/tags/tag174.xml" ContentType="application/vnd.openxmlformats-officedocument.presentationml.tags+xml"/>
  <Override PartName="/ppt/charts/chart227.xml" ContentType="application/vnd.openxmlformats-officedocument.drawingml.chart+xml"/>
  <Override PartName="/ppt/tags/tag175.xml" ContentType="application/vnd.openxmlformats-officedocument.presentationml.tags+xml"/>
  <Override PartName="/ppt/charts/chart228.xml" ContentType="application/vnd.openxmlformats-officedocument.drawingml.chart+xml"/>
  <Override PartName="/ppt/tags/tag176.xml" ContentType="application/vnd.openxmlformats-officedocument.presentationml.tags+xml"/>
  <Override PartName="/ppt/charts/chart229.xml" ContentType="application/vnd.openxmlformats-officedocument.drawingml.chart+xml"/>
  <Override PartName="/ppt/tags/tag177.xml" ContentType="application/vnd.openxmlformats-officedocument.presentationml.tags+xml"/>
  <Override PartName="/ppt/charts/chart230.xml" ContentType="application/vnd.openxmlformats-officedocument.drawingml.chart+xml"/>
  <Override PartName="/ppt/tags/tag178.xml" ContentType="application/vnd.openxmlformats-officedocument.presentationml.tags+xml"/>
  <Override PartName="/ppt/charts/chart231.xml" ContentType="application/vnd.openxmlformats-officedocument.drawingml.chart+xml"/>
  <Override PartName="/ppt/tags/tag179.xml" ContentType="application/vnd.openxmlformats-officedocument.presentationml.tags+xml"/>
  <Override PartName="/ppt/charts/chart232.xml" ContentType="application/vnd.openxmlformats-officedocument.drawingml.chart+xml"/>
  <Override PartName="/ppt/tags/tag180.xml" ContentType="application/vnd.openxmlformats-officedocument.presentationml.tags+xml"/>
  <Override PartName="/ppt/charts/chart233.xml" ContentType="application/vnd.openxmlformats-officedocument.drawingml.chart+xml"/>
  <Override PartName="/ppt/tags/tag181.xml" ContentType="application/vnd.openxmlformats-officedocument.presentationml.tags+xml"/>
  <Override PartName="/ppt/charts/chart234.xml" ContentType="application/vnd.openxmlformats-officedocument.drawingml.chart+xml"/>
  <Override PartName="/ppt/tags/tag182.xml" ContentType="application/vnd.openxmlformats-officedocument.presentationml.tags+xml"/>
  <Override PartName="/ppt/charts/chart235.xml" ContentType="application/vnd.openxmlformats-officedocument.drawingml.chart+xml"/>
  <Override PartName="/ppt/tags/tag183.xml" ContentType="application/vnd.openxmlformats-officedocument.presentationml.tags+xml"/>
  <Override PartName="/ppt/charts/chart236.xml" ContentType="application/vnd.openxmlformats-officedocument.drawingml.chart+xml"/>
  <Override PartName="/ppt/tags/tag184.xml" ContentType="application/vnd.openxmlformats-officedocument.presentationml.tags+xml"/>
  <Override PartName="/ppt/charts/chart237.xml" ContentType="application/vnd.openxmlformats-officedocument.drawingml.chart+xml"/>
  <Override PartName="/ppt/tags/tag185.xml" ContentType="application/vnd.openxmlformats-officedocument.presentationml.tags+xml"/>
  <Override PartName="/ppt/charts/chart238.xml" ContentType="application/vnd.openxmlformats-officedocument.drawingml.chart+xml"/>
  <Override PartName="/ppt/tags/tag186.xml" ContentType="application/vnd.openxmlformats-officedocument.presentationml.tags+xml"/>
  <Override PartName="/ppt/charts/chart239.xml" ContentType="application/vnd.openxmlformats-officedocument.drawingml.chart+xml"/>
  <Override PartName="/ppt/tags/tag187.xml" ContentType="application/vnd.openxmlformats-officedocument.presentationml.tags+xml"/>
  <Override PartName="/ppt/charts/chart240.xml" ContentType="application/vnd.openxmlformats-officedocument.drawingml.chart+xml"/>
  <Override PartName="/ppt/tags/tag188.xml" ContentType="application/vnd.openxmlformats-officedocument.presentationml.tags+xml"/>
  <Override PartName="/ppt/charts/chart241.xml" ContentType="application/vnd.openxmlformats-officedocument.drawingml.chart+xml"/>
  <Override PartName="/ppt/tags/tag189.xml" ContentType="application/vnd.openxmlformats-officedocument.presentationml.tags+xml"/>
  <Override PartName="/ppt/charts/chart242.xml" ContentType="application/vnd.openxmlformats-officedocument.drawingml.chart+xml"/>
  <Override PartName="/ppt/tags/tag190.xml" ContentType="application/vnd.openxmlformats-officedocument.presentationml.tags+xml"/>
  <Override PartName="/ppt/charts/chart243.xml" ContentType="application/vnd.openxmlformats-officedocument.drawingml.chart+xml"/>
  <Override PartName="/ppt/tags/tag191.xml" ContentType="application/vnd.openxmlformats-officedocument.presentationml.tags+xml"/>
  <Override PartName="/ppt/charts/chart244.xml" ContentType="application/vnd.openxmlformats-officedocument.drawingml.chart+xml"/>
  <Override PartName="/ppt/tags/tag192.xml" ContentType="application/vnd.openxmlformats-officedocument.presentationml.tags+xml"/>
  <Override PartName="/ppt/charts/chart245.xml" ContentType="application/vnd.openxmlformats-officedocument.drawingml.chart+xml"/>
  <Override PartName="/ppt/tags/tag193.xml" ContentType="application/vnd.openxmlformats-officedocument.presentationml.tags+xml"/>
  <Override PartName="/ppt/charts/chart246.xml" ContentType="application/vnd.openxmlformats-officedocument.drawingml.chart+xml"/>
  <Override PartName="/ppt/tags/tag194.xml" ContentType="application/vnd.openxmlformats-officedocument.presentationml.tags+xml"/>
  <Override PartName="/ppt/charts/chart247.xml" ContentType="application/vnd.openxmlformats-officedocument.drawingml.chart+xml"/>
  <Override PartName="/ppt/tags/tag195.xml" ContentType="application/vnd.openxmlformats-officedocument.presentationml.tags+xml"/>
  <Override PartName="/ppt/charts/chart248.xml" ContentType="application/vnd.openxmlformats-officedocument.drawingml.chart+xml"/>
  <Override PartName="/ppt/tags/tag196.xml" ContentType="application/vnd.openxmlformats-officedocument.presentationml.tags+xml"/>
  <Override PartName="/ppt/charts/chart249.xml" ContentType="application/vnd.openxmlformats-officedocument.drawingml.chart+xml"/>
  <Override PartName="/ppt/tags/tag197.xml" ContentType="application/vnd.openxmlformats-officedocument.presentationml.tags+xml"/>
  <Override PartName="/ppt/charts/chart250.xml" ContentType="application/vnd.openxmlformats-officedocument.drawingml.chart+xml"/>
  <Override PartName="/ppt/tags/tag198.xml" ContentType="application/vnd.openxmlformats-officedocument.presentationml.tags+xml"/>
  <Override PartName="/ppt/charts/chart251.xml" ContentType="application/vnd.openxmlformats-officedocument.drawingml.chart+xml"/>
  <Override PartName="/ppt/tags/tag199.xml" ContentType="application/vnd.openxmlformats-officedocument.presentationml.tags+xml"/>
  <Override PartName="/ppt/charts/chart252.xml" ContentType="application/vnd.openxmlformats-officedocument.drawingml.chart+xml"/>
  <Override PartName="/ppt/tags/tag200.xml" ContentType="application/vnd.openxmlformats-officedocument.presentationml.tags+xml"/>
  <Override PartName="/ppt/charts/chart253.xml" ContentType="application/vnd.openxmlformats-officedocument.drawingml.chart+xml"/>
  <Override PartName="/ppt/tags/tag201.xml" ContentType="application/vnd.openxmlformats-officedocument.presentationml.tags+xml"/>
  <Override PartName="/ppt/charts/chart254.xml" ContentType="application/vnd.openxmlformats-officedocument.drawingml.chart+xml"/>
  <Override PartName="/ppt/tags/tag202.xml" ContentType="application/vnd.openxmlformats-officedocument.presentationml.tags+xml"/>
  <Override PartName="/ppt/charts/chart255.xml" ContentType="application/vnd.openxmlformats-officedocument.drawingml.chart+xml"/>
  <Override PartName="/ppt/tags/tag203.xml" ContentType="application/vnd.openxmlformats-officedocument.presentationml.tags+xml"/>
  <Override PartName="/ppt/charts/chart256.xml" ContentType="application/vnd.openxmlformats-officedocument.drawingml.chart+xml"/>
  <Override PartName="/ppt/tags/tag204.xml" ContentType="application/vnd.openxmlformats-officedocument.presentationml.tags+xml"/>
  <Override PartName="/ppt/charts/chart257.xml" ContentType="application/vnd.openxmlformats-officedocument.drawingml.chart+xml"/>
  <Override PartName="/ppt/tags/tag205.xml" ContentType="application/vnd.openxmlformats-officedocument.presentationml.tags+xml"/>
  <Override PartName="/ppt/charts/chart258.xml" ContentType="application/vnd.openxmlformats-officedocument.drawingml.chart+xml"/>
  <Override PartName="/ppt/tags/tag206.xml" ContentType="application/vnd.openxmlformats-officedocument.presentationml.tags+xml"/>
  <Override PartName="/ppt/charts/chart259.xml" ContentType="application/vnd.openxmlformats-officedocument.drawingml.chart+xml"/>
  <Override PartName="/ppt/tags/tag207.xml" ContentType="application/vnd.openxmlformats-officedocument.presentationml.tags+xml"/>
  <Override PartName="/ppt/charts/chart260.xml" ContentType="application/vnd.openxmlformats-officedocument.drawingml.chart+xml"/>
  <Override PartName="/ppt/tags/tag208.xml" ContentType="application/vnd.openxmlformats-officedocument.presentationml.tags+xml"/>
  <Override PartName="/ppt/charts/chart261.xml" ContentType="application/vnd.openxmlformats-officedocument.drawingml.chart+xml"/>
  <Override PartName="/ppt/tags/tag209.xml" ContentType="application/vnd.openxmlformats-officedocument.presentationml.tags+xml"/>
  <Override PartName="/ppt/charts/chart262.xml" ContentType="application/vnd.openxmlformats-officedocument.drawingml.chart+xml"/>
  <Override PartName="/ppt/tags/tag210.xml" ContentType="application/vnd.openxmlformats-officedocument.presentationml.tags+xml"/>
  <Override PartName="/ppt/charts/chart263.xml" ContentType="application/vnd.openxmlformats-officedocument.drawingml.chart+xml"/>
  <Override PartName="/ppt/tags/tag211.xml" ContentType="application/vnd.openxmlformats-officedocument.presentationml.tags+xml"/>
  <Override PartName="/ppt/charts/chart264.xml" ContentType="application/vnd.openxmlformats-officedocument.drawingml.chart+xml"/>
  <Override PartName="/ppt/tags/tag212.xml" ContentType="application/vnd.openxmlformats-officedocument.presentationml.tags+xml"/>
  <Override PartName="/ppt/charts/chart265.xml" ContentType="application/vnd.openxmlformats-officedocument.drawingml.chart+xml"/>
  <Override PartName="/ppt/tags/tag213.xml" ContentType="application/vnd.openxmlformats-officedocument.presentationml.tags+xml"/>
  <Override PartName="/ppt/charts/chart266.xml" ContentType="application/vnd.openxmlformats-officedocument.drawingml.chart+xml"/>
  <Override PartName="/ppt/tags/tag214.xml" ContentType="application/vnd.openxmlformats-officedocument.presentationml.tags+xml"/>
  <Override PartName="/ppt/charts/chart267.xml" ContentType="application/vnd.openxmlformats-officedocument.drawingml.chart+xml"/>
  <Override PartName="/ppt/tags/tag215.xml" ContentType="application/vnd.openxmlformats-officedocument.presentationml.tags+xml"/>
  <Override PartName="/ppt/charts/chart268.xml" ContentType="application/vnd.openxmlformats-officedocument.drawingml.chart+xml"/>
  <Override PartName="/ppt/tags/tag216.xml" ContentType="application/vnd.openxmlformats-officedocument.presentationml.tags+xml"/>
  <Override PartName="/ppt/charts/chart269.xml" ContentType="application/vnd.openxmlformats-officedocument.drawingml.chart+xml"/>
  <Override PartName="/ppt/tags/tag217.xml" ContentType="application/vnd.openxmlformats-officedocument.presentationml.tags+xml"/>
  <Override PartName="/ppt/charts/chart270.xml" ContentType="application/vnd.openxmlformats-officedocument.drawingml.chart+xml"/>
  <Override PartName="/ppt/tags/tag218.xml" ContentType="application/vnd.openxmlformats-officedocument.presentationml.tags+xml"/>
  <Override PartName="/ppt/charts/chart271.xml" ContentType="application/vnd.openxmlformats-officedocument.drawingml.chart+xml"/>
  <Override PartName="/ppt/tags/tag219.xml" ContentType="application/vnd.openxmlformats-officedocument.presentationml.tags+xml"/>
  <Override PartName="/ppt/charts/chart272.xml" ContentType="application/vnd.openxmlformats-officedocument.drawingml.chart+xml"/>
  <Override PartName="/ppt/tags/tag220.xml" ContentType="application/vnd.openxmlformats-officedocument.presentationml.tags+xml"/>
  <Override PartName="/ppt/charts/chart273.xml" ContentType="application/vnd.openxmlformats-officedocument.drawingml.chart+xml"/>
  <Override PartName="/ppt/tags/tag221.xml" ContentType="application/vnd.openxmlformats-officedocument.presentationml.tags+xml"/>
  <Override PartName="/ppt/charts/chart274.xml" ContentType="application/vnd.openxmlformats-officedocument.drawingml.chart+xml"/>
  <Override PartName="/ppt/tags/tag222.xml" ContentType="application/vnd.openxmlformats-officedocument.presentationml.tags+xml"/>
  <Override PartName="/ppt/charts/chart275.xml" ContentType="application/vnd.openxmlformats-officedocument.drawingml.chart+xml"/>
  <Override PartName="/ppt/tags/tag223.xml" ContentType="application/vnd.openxmlformats-officedocument.presentationml.tags+xml"/>
  <Override PartName="/ppt/charts/chart276.xml" ContentType="application/vnd.openxmlformats-officedocument.drawingml.chart+xml"/>
  <Override PartName="/ppt/tags/tag224.xml" ContentType="application/vnd.openxmlformats-officedocument.presentationml.tags+xml"/>
  <Override PartName="/ppt/charts/chart277.xml" ContentType="application/vnd.openxmlformats-officedocument.drawingml.chart+xml"/>
  <Override PartName="/ppt/tags/tag225.xml" ContentType="application/vnd.openxmlformats-officedocument.presentationml.tags+xml"/>
  <Override PartName="/ppt/charts/chart278.xml" ContentType="application/vnd.openxmlformats-officedocument.drawingml.chart+xml"/>
  <Override PartName="/ppt/tags/tag226.xml" ContentType="application/vnd.openxmlformats-officedocument.presentationml.tags+xml"/>
  <Override PartName="/ppt/charts/chart279.xml" ContentType="application/vnd.openxmlformats-officedocument.drawingml.chart+xml"/>
  <Override PartName="/ppt/tags/tag227.xml" ContentType="application/vnd.openxmlformats-officedocument.presentationml.tags+xml"/>
  <Override PartName="/ppt/charts/chart280.xml" ContentType="application/vnd.openxmlformats-officedocument.drawingml.chart+xml"/>
  <Override PartName="/ppt/tags/tag228.xml" ContentType="application/vnd.openxmlformats-officedocument.presentationml.tags+xml"/>
  <Override PartName="/ppt/charts/chart281.xml" ContentType="application/vnd.openxmlformats-officedocument.drawingml.chart+xml"/>
  <Override PartName="/ppt/tags/tag229.xml" ContentType="application/vnd.openxmlformats-officedocument.presentationml.tags+xml"/>
  <Override PartName="/ppt/charts/chart282.xml" ContentType="application/vnd.openxmlformats-officedocument.drawingml.chart+xml"/>
  <Override PartName="/ppt/tags/tag230.xml" ContentType="application/vnd.openxmlformats-officedocument.presentationml.tags+xml"/>
  <Override PartName="/ppt/charts/chart283.xml" ContentType="application/vnd.openxmlformats-officedocument.drawingml.chart+xml"/>
  <Override PartName="/ppt/tags/tag231.xml" ContentType="application/vnd.openxmlformats-officedocument.presentationml.tags+xml"/>
  <Override PartName="/ppt/charts/chart284.xml" ContentType="application/vnd.openxmlformats-officedocument.drawingml.chart+xml"/>
  <Override PartName="/ppt/tags/tag232.xml" ContentType="application/vnd.openxmlformats-officedocument.presentationml.tags+xml"/>
  <Override PartName="/ppt/charts/chart285.xml" ContentType="application/vnd.openxmlformats-officedocument.drawingml.chart+xml"/>
  <Override PartName="/ppt/tags/tag233.xml" ContentType="application/vnd.openxmlformats-officedocument.presentationml.tags+xml"/>
  <Override PartName="/ppt/charts/chart286.xml" ContentType="application/vnd.openxmlformats-officedocument.drawingml.chart+xml"/>
  <Override PartName="/ppt/tags/tag234.xml" ContentType="application/vnd.openxmlformats-officedocument.presentationml.tags+xml"/>
  <Override PartName="/ppt/charts/chart287.xml" ContentType="application/vnd.openxmlformats-officedocument.drawingml.chart+xml"/>
  <Override PartName="/ppt/tags/tag235.xml" ContentType="application/vnd.openxmlformats-officedocument.presentationml.tags+xml"/>
  <Override PartName="/ppt/charts/chart288.xml" ContentType="application/vnd.openxmlformats-officedocument.drawingml.chart+xml"/>
  <Override PartName="/ppt/tags/tag236.xml" ContentType="application/vnd.openxmlformats-officedocument.presentationml.tags+xml"/>
  <Override PartName="/ppt/charts/chart289.xml" ContentType="application/vnd.openxmlformats-officedocument.drawingml.chart+xml"/>
  <Override PartName="/ppt/tags/tag237.xml" ContentType="application/vnd.openxmlformats-officedocument.presentationml.tags+xml"/>
  <Override PartName="/ppt/charts/chart290.xml" ContentType="application/vnd.openxmlformats-officedocument.drawingml.chart+xml"/>
  <Override PartName="/ppt/tags/tag238.xml" ContentType="application/vnd.openxmlformats-officedocument.presentationml.tags+xml"/>
  <Override PartName="/ppt/charts/chart291.xml" ContentType="application/vnd.openxmlformats-officedocument.drawingml.chart+xml"/>
  <Override PartName="/ppt/tags/tag239.xml" ContentType="application/vnd.openxmlformats-officedocument.presentationml.tags+xml"/>
  <Override PartName="/ppt/charts/chart292.xml" ContentType="application/vnd.openxmlformats-officedocument.drawingml.chart+xml"/>
  <Override PartName="/ppt/tags/tag240.xml" ContentType="application/vnd.openxmlformats-officedocument.presentationml.tags+xml"/>
  <Override PartName="/ppt/charts/chart293.xml" ContentType="application/vnd.openxmlformats-officedocument.drawingml.chart+xml"/>
  <Override PartName="/ppt/tags/tag241.xml" ContentType="application/vnd.openxmlformats-officedocument.presentationml.tags+xml"/>
  <Override PartName="/ppt/charts/chart294.xml" ContentType="application/vnd.openxmlformats-officedocument.drawingml.chart+xml"/>
  <Override PartName="/ppt/tags/tag242.xml" ContentType="application/vnd.openxmlformats-officedocument.presentationml.tags+xml"/>
  <Override PartName="/ppt/charts/chart295.xml" ContentType="application/vnd.openxmlformats-officedocument.drawingml.chart+xml"/>
  <Override PartName="/ppt/tags/tag243.xml" ContentType="application/vnd.openxmlformats-officedocument.presentationml.tags+xml"/>
  <Override PartName="/ppt/charts/chart296.xml" ContentType="application/vnd.openxmlformats-officedocument.drawingml.chart+xml"/>
  <Override PartName="/ppt/tags/tag244.xml" ContentType="application/vnd.openxmlformats-officedocument.presentationml.tags+xml"/>
  <Override PartName="/ppt/charts/chart297.xml" ContentType="application/vnd.openxmlformats-officedocument.drawingml.chart+xml"/>
  <Override PartName="/ppt/tags/tag245.xml" ContentType="application/vnd.openxmlformats-officedocument.presentationml.tags+xml"/>
  <Override PartName="/ppt/charts/chart298.xml" ContentType="application/vnd.openxmlformats-officedocument.drawingml.chart+xml"/>
  <Override PartName="/ppt/tags/tag246.xml" ContentType="application/vnd.openxmlformats-officedocument.presentationml.tags+xml"/>
  <Override PartName="/ppt/charts/chart299.xml" ContentType="application/vnd.openxmlformats-officedocument.drawingml.chart+xml"/>
  <Override PartName="/ppt/tags/tag247.xml" ContentType="application/vnd.openxmlformats-officedocument.presentationml.tags+xml"/>
  <Override PartName="/ppt/charts/chart300.xml" ContentType="application/vnd.openxmlformats-officedocument.drawingml.chart+xml"/>
  <Override PartName="/ppt/tags/tag248.xml" ContentType="application/vnd.openxmlformats-officedocument.presentationml.tags+xml"/>
  <Override PartName="/ppt/charts/chart301.xml" ContentType="application/vnd.openxmlformats-officedocument.drawingml.chart+xml"/>
  <Override PartName="/ppt/tags/tag249.xml" ContentType="application/vnd.openxmlformats-officedocument.presentationml.tags+xml"/>
  <Override PartName="/ppt/charts/chart302.xml" ContentType="application/vnd.openxmlformats-officedocument.drawingml.chart+xml"/>
  <Override PartName="/ppt/tags/tag250.xml" ContentType="application/vnd.openxmlformats-officedocument.presentationml.tags+xml"/>
  <Override PartName="/ppt/charts/chart303.xml" ContentType="application/vnd.openxmlformats-officedocument.drawingml.chart+xml"/>
  <Override PartName="/ppt/tags/tag251.xml" ContentType="application/vnd.openxmlformats-officedocument.presentationml.tags+xml"/>
  <Override PartName="/ppt/charts/chart304.xml" ContentType="application/vnd.openxmlformats-officedocument.drawingml.chart+xml"/>
  <Override PartName="/ppt/tags/tag252.xml" ContentType="application/vnd.openxmlformats-officedocument.presentationml.tags+xml"/>
  <Override PartName="/ppt/charts/chart305.xml" ContentType="application/vnd.openxmlformats-officedocument.drawingml.chart+xml"/>
  <Override PartName="/ppt/tags/tag253.xml" ContentType="application/vnd.openxmlformats-officedocument.presentationml.tags+xml"/>
  <Override PartName="/ppt/charts/chart306.xml" ContentType="application/vnd.openxmlformats-officedocument.drawingml.chart+xml"/>
  <Override PartName="/ppt/tags/tag254.xml" ContentType="application/vnd.openxmlformats-officedocument.presentationml.tags+xml"/>
  <Override PartName="/ppt/charts/chart307.xml" ContentType="application/vnd.openxmlformats-officedocument.drawingml.chart+xml"/>
  <Override PartName="/ppt/tags/tag255.xml" ContentType="application/vnd.openxmlformats-officedocument.presentationml.tags+xml"/>
  <Override PartName="/ppt/charts/chart308.xml" ContentType="application/vnd.openxmlformats-officedocument.drawingml.chart+xml"/>
  <Override PartName="/ppt/tags/tag256.xml" ContentType="application/vnd.openxmlformats-officedocument.presentationml.tags+xml"/>
  <Override PartName="/ppt/charts/chart309.xml" ContentType="application/vnd.openxmlformats-officedocument.drawingml.chart+xml"/>
  <Override PartName="/ppt/tags/tag257.xml" ContentType="application/vnd.openxmlformats-officedocument.presentationml.tags+xml"/>
  <Override PartName="/ppt/charts/chart310.xml" ContentType="application/vnd.openxmlformats-officedocument.drawingml.chart+xml"/>
  <Override PartName="/ppt/tags/tag258.xml" ContentType="application/vnd.openxmlformats-officedocument.presentationml.tags+xml"/>
  <Override PartName="/ppt/charts/chart311.xml" ContentType="application/vnd.openxmlformats-officedocument.drawingml.chart+xml"/>
  <Override PartName="/ppt/tags/tag259.xml" ContentType="application/vnd.openxmlformats-officedocument.presentationml.tags+xml"/>
  <Override PartName="/ppt/charts/chart312.xml" ContentType="application/vnd.openxmlformats-officedocument.drawingml.chart+xml"/>
  <Override PartName="/ppt/tags/tag260.xml" ContentType="application/vnd.openxmlformats-officedocument.presentationml.tags+xml"/>
  <Override PartName="/ppt/charts/chart313.xml" ContentType="application/vnd.openxmlformats-officedocument.drawingml.chart+xml"/>
  <Override PartName="/ppt/tags/tag261.xml" ContentType="application/vnd.openxmlformats-officedocument.presentationml.tags+xml"/>
  <Override PartName="/ppt/charts/chart314.xml" ContentType="application/vnd.openxmlformats-officedocument.drawingml.chart+xml"/>
  <Override PartName="/ppt/tags/tag262.xml" ContentType="application/vnd.openxmlformats-officedocument.presentationml.tags+xml"/>
  <Override PartName="/ppt/charts/chart315.xml" ContentType="application/vnd.openxmlformats-officedocument.drawingml.chart+xml"/>
  <Override PartName="/ppt/tags/tag263.xml" ContentType="application/vnd.openxmlformats-officedocument.presentationml.tags+xml"/>
  <Override PartName="/ppt/charts/chart316.xml" ContentType="application/vnd.openxmlformats-officedocument.drawingml.chart+xml"/>
  <Override PartName="/ppt/tags/tag264.xml" ContentType="application/vnd.openxmlformats-officedocument.presentationml.tags+xml"/>
  <Override PartName="/ppt/charts/chart317.xml" ContentType="application/vnd.openxmlformats-officedocument.drawingml.chart+xml"/>
  <Override PartName="/ppt/tags/tag265.xml" ContentType="application/vnd.openxmlformats-officedocument.presentationml.tags+xml"/>
  <Override PartName="/ppt/charts/chart318.xml" ContentType="application/vnd.openxmlformats-officedocument.drawingml.chart+xml"/>
  <Override PartName="/ppt/tags/tag266.xml" ContentType="application/vnd.openxmlformats-officedocument.presentationml.tags+xml"/>
  <Override PartName="/ppt/charts/chart319.xml" ContentType="application/vnd.openxmlformats-officedocument.drawingml.chart+xml"/>
  <Override PartName="/ppt/tags/tag267.xml" ContentType="application/vnd.openxmlformats-officedocument.presentationml.tags+xml"/>
  <Override PartName="/ppt/charts/chart320.xml" ContentType="application/vnd.openxmlformats-officedocument.drawingml.chart+xml"/>
  <Override PartName="/ppt/tags/tag268.xml" ContentType="application/vnd.openxmlformats-officedocument.presentationml.tags+xml"/>
  <Override PartName="/ppt/charts/chart321.xml" ContentType="application/vnd.openxmlformats-officedocument.drawingml.chart+xml"/>
  <Override PartName="/ppt/tags/tag269.xml" ContentType="application/vnd.openxmlformats-officedocument.presentationml.tags+xml"/>
  <Override PartName="/ppt/charts/chart322.xml" ContentType="application/vnd.openxmlformats-officedocument.drawingml.chart+xml"/>
  <Override PartName="/ppt/tags/tag270.xml" ContentType="application/vnd.openxmlformats-officedocument.presentationml.tags+xml"/>
  <Override PartName="/ppt/charts/chart323.xml" ContentType="application/vnd.openxmlformats-officedocument.drawingml.chart+xml"/>
  <Override PartName="/ppt/tags/tag271.xml" ContentType="application/vnd.openxmlformats-officedocument.presentationml.tags+xml"/>
  <Override PartName="/ppt/charts/chart324.xml" ContentType="application/vnd.openxmlformats-officedocument.drawingml.chart+xml"/>
  <Override PartName="/ppt/tags/tag272.xml" ContentType="application/vnd.openxmlformats-officedocument.presentationml.tags+xml"/>
  <Override PartName="/ppt/charts/chart325.xml" ContentType="application/vnd.openxmlformats-officedocument.drawingml.chart+xml"/>
  <Override PartName="/ppt/tags/tag273.xml" ContentType="application/vnd.openxmlformats-officedocument.presentationml.tags+xml"/>
  <Override PartName="/ppt/charts/chart326.xml" ContentType="application/vnd.openxmlformats-officedocument.drawingml.chart+xml"/>
  <Override PartName="/ppt/tags/tag274.xml" ContentType="application/vnd.openxmlformats-officedocument.presentationml.tags+xml"/>
  <Override PartName="/ppt/charts/chart327.xml" ContentType="application/vnd.openxmlformats-officedocument.drawingml.chart+xml"/>
  <Override PartName="/ppt/tags/tag275.xml" ContentType="application/vnd.openxmlformats-officedocument.presentationml.tags+xml"/>
  <Override PartName="/ppt/charts/chart328.xml" ContentType="application/vnd.openxmlformats-officedocument.drawingml.chart+xml"/>
  <Override PartName="/ppt/tags/tag276.xml" ContentType="application/vnd.openxmlformats-officedocument.presentationml.tags+xml"/>
  <Override PartName="/ppt/charts/chart329.xml" ContentType="application/vnd.openxmlformats-officedocument.drawingml.chart+xml"/>
  <Override PartName="/ppt/tags/tag277.xml" ContentType="application/vnd.openxmlformats-officedocument.presentationml.tags+xml"/>
  <Override PartName="/ppt/charts/chart330.xml" ContentType="application/vnd.openxmlformats-officedocument.drawingml.chart+xml"/>
  <Override PartName="/ppt/tags/tag278.xml" ContentType="application/vnd.openxmlformats-officedocument.presentationml.tags+xml"/>
  <Override PartName="/ppt/charts/chart331.xml" ContentType="application/vnd.openxmlformats-officedocument.drawingml.chart+xml"/>
  <Override PartName="/ppt/tags/tag279.xml" ContentType="application/vnd.openxmlformats-officedocument.presentationml.tags+xml"/>
  <Override PartName="/ppt/charts/chart332.xml" ContentType="application/vnd.openxmlformats-officedocument.drawingml.chart+xml"/>
  <Override PartName="/ppt/tags/tag280.xml" ContentType="application/vnd.openxmlformats-officedocument.presentationml.tags+xml"/>
  <Override PartName="/ppt/charts/chart333.xml" ContentType="application/vnd.openxmlformats-officedocument.drawingml.chart+xml"/>
  <Override PartName="/ppt/tags/tag281.xml" ContentType="application/vnd.openxmlformats-officedocument.presentationml.tags+xml"/>
  <Override PartName="/ppt/charts/chart334.xml" ContentType="application/vnd.openxmlformats-officedocument.drawingml.chart+xml"/>
  <Override PartName="/ppt/tags/tag282.xml" ContentType="application/vnd.openxmlformats-officedocument.presentationml.tags+xml"/>
  <Override PartName="/ppt/charts/chart335.xml" ContentType="application/vnd.openxmlformats-officedocument.drawingml.chart+xml"/>
  <Override PartName="/ppt/tags/tag283.xml" ContentType="application/vnd.openxmlformats-officedocument.presentationml.tags+xml"/>
  <Override PartName="/ppt/charts/chart336.xml" ContentType="application/vnd.openxmlformats-officedocument.drawingml.chart+xml"/>
  <Override PartName="/ppt/tags/tag284.xml" ContentType="application/vnd.openxmlformats-officedocument.presentationml.tags+xml"/>
  <Override PartName="/ppt/charts/chart337.xml" ContentType="application/vnd.openxmlformats-officedocument.drawingml.chart+xml"/>
  <Override PartName="/ppt/tags/tag285.xml" ContentType="application/vnd.openxmlformats-officedocument.presentationml.tags+xml"/>
  <Override PartName="/ppt/charts/chart338.xml" ContentType="application/vnd.openxmlformats-officedocument.drawingml.chart+xml"/>
  <Override PartName="/ppt/tags/tag286.xml" ContentType="application/vnd.openxmlformats-officedocument.presentationml.tags+xml"/>
  <Override PartName="/ppt/charts/chart339.xml" ContentType="application/vnd.openxmlformats-officedocument.drawingml.chart+xml"/>
  <Override PartName="/ppt/tags/tag287.xml" ContentType="application/vnd.openxmlformats-officedocument.presentationml.tags+xml"/>
  <Override PartName="/ppt/charts/chart340.xml" ContentType="application/vnd.openxmlformats-officedocument.drawingml.chart+xml"/>
  <Override PartName="/ppt/tags/tag288.xml" ContentType="application/vnd.openxmlformats-officedocument.presentationml.tags+xml"/>
  <Override PartName="/ppt/charts/chart341.xml" ContentType="application/vnd.openxmlformats-officedocument.drawingml.chart+xml"/>
  <Override PartName="/ppt/tags/tag289.xml" ContentType="application/vnd.openxmlformats-officedocument.presentationml.tags+xml"/>
  <Override PartName="/ppt/charts/chart342.xml" ContentType="application/vnd.openxmlformats-officedocument.drawingml.chart+xml"/>
  <Override PartName="/ppt/tags/tag290.xml" ContentType="application/vnd.openxmlformats-officedocument.presentationml.tags+xml"/>
  <Override PartName="/ppt/charts/chart343.xml" ContentType="application/vnd.openxmlformats-officedocument.drawingml.chart+xml"/>
  <Override PartName="/ppt/tags/tag291.xml" ContentType="application/vnd.openxmlformats-officedocument.presentationml.tags+xml"/>
  <Override PartName="/ppt/charts/chart344.xml" ContentType="application/vnd.openxmlformats-officedocument.drawingml.chart+xml"/>
  <Override PartName="/ppt/tags/tag292.xml" ContentType="application/vnd.openxmlformats-officedocument.presentationml.tags+xml"/>
  <Override PartName="/ppt/charts/chart345.xml" ContentType="application/vnd.openxmlformats-officedocument.drawingml.chart+xml"/>
  <Override PartName="/ppt/tags/tag293.xml" ContentType="application/vnd.openxmlformats-officedocument.presentationml.tags+xml"/>
  <Override PartName="/ppt/charts/chart346.xml" ContentType="application/vnd.openxmlformats-officedocument.drawingml.chart+xml"/>
  <Override PartName="/ppt/tags/tag294.xml" ContentType="application/vnd.openxmlformats-officedocument.presentationml.tags+xml"/>
  <Override PartName="/ppt/charts/chart347.xml" ContentType="application/vnd.openxmlformats-officedocument.drawingml.chart+xml"/>
  <Override PartName="/ppt/tags/tag295.xml" ContentType="application/vnd.openxmlformats-officedocument.presentationml.tags+xml"/>
  <Override PartName="/ppt/charts/chart348.xml" ContentType="application/vnd.openxmlformats-officedocument.drawingml.chart+xml"/>
  <Override PartName="/ppt/tags/tag296.xml" ContentType="application/vnd.openxmlformats-officedocument.presentationml.tags+xml"/>
  <Override PartName="/ppt/charts/chart349.xml" ContentType="application/vnd.openxmlformats-officedocument.drawingml.chart+xml"/>
  <Override PartName="/ppt/tags/tag297.xml" ContentType="application/vnd.openxmlformats-officedocument.presentationml.tags+xml"/>
  <Override PartName="/ppt/charts/chart350.xml" ContentType="application/vnd.openxmlformats-officedocument.drawingml.chart+xml"/>
  <Override PartName="/ppt/tags/tag298.xml" ContentType="application/vnd.openxmlformats-officedocument.presentationml.tags+xml"/>
  <Override PartName="/ppt/charts/chart351.xml" ContentType="application/vnd.openxmlformats-officedocument.drawingml.chart+xml"/>
  <Override PartName="/ppt/tags/tag299.xml" ContentType="application/vnd.openxmlformats-officedocument.presentationml.tags+xml"/>
  <Override PartName="/ppt/charts/chart352.xml" ContentType="application/vnd.openxmlformats-officedocument.drawingml.chart+xml"/>
  <Override PartName="/ppt/tags/tag300.xml" ContentType="application/vnd.openxmlformats-officedocument.presentationml.tags+xml"/>
  <Override PartName="/ppt/charts/chart353.xml" ContentType="application/vnd.openxmlformats-officedocument.drawingml.chart+xml"/>
  <Override PartName="/ppt/tags/tag301.xml" ContentType="application/vnd.openxmlformats-officedocument.presentationml.tags+xml"/>
  <Override PartName="/ppt/charts/chart354.xml" ContentType="application/vnd.openxmlformats-officedocument.drawingml.chart+xml"/>
  <Override PartName="/ppt/tags/tag302.xml" ContentType="application/vnd.openxmlformats-officedocument.presentationml.tags+xml"/>
  <Override PartName="/ppt/charts/chart355.xml" ContentType="application/vnd.openxmlformats-officedocument.drawingml.chart+xml"/>
  <Override PartName="/ppt/tags/tag303.xml" ContentType="application/vnd.openxmlformats-officedocument.presentationml.tags+xml"/>
  <Override PartName="/ppt/notesSlides/notesSlide1.xml" ContentType="application/vnd.openxmlformats-officedocument.presentationml.notesSlide+xml"/>
  <Override PartName="/ppt/tags/tag304.xml" ContentType="application/vnd.openxmlformats-officedocument.presentationml.tags+xml"/>
  <Override PartName="/ppt/notesSlides/notesSlide2.xml" ContentType="application/vnd.openxmlformats-officedocument.presentationml.notesSlide+xml"/>
  <Override PartName="/ppt/tags/tag305.xml" ContentType="application/vnd.openxmlformats-officedocument.presentationml.tags+xml"/>
  <Override PartName="/ppt/notesSlides/notesSlide3.xml" ContentType="application/vnd.openxmlformats-officedocument.presentationml.notesSlide+xml"/>
  <Override PartName="/ppt/tags/tag306.xml" ContentType="application/vnd.openxmlformats-officedocument.presentationml.tags+xml"/>
  <Override PartName="/ppt/notesSlides/notesSlide4.xml" ContentType="application/vnd.openxmlformats-officedocument.presentationml.notesSlide+xml"/>
  <Override PartName="/ppt/tags/tag307.xml" ContentType="application/vnd.openxmlformats-officedocument.presentationml.tags+xml"/>
  <Override PartName="/ppt/notesSlides/notesSlide5.xml" ContentType="application/vnd.openxmlformats-officedocument.presentationml.notesSlide+xml"/>
  <Override PartName="/ppt/tags/tag308.xml" ContentType="application/vnd.openxmlformats-officedocument.presentationml.tags+xml"/>
  <Override PartName="/ppt/notesSlides/notesSlide6.xml" ContentType="application/vnd.openxmlformats-officedocument.presentationml.notesSlide+xml"/>
  <Override PartName="/ppt/tags/tag309.xml" ContentType="application/vnd.openxmlformats-officedocument.presentationml.tags+xml"/>
  <Override PartName="/ppt/notesSlides/notesSlide7.xml" ContentType="application/vnd.openxmlformats-officedocument.presentationml.notesSlide+xml"/>
  <Override PartName="/ppt/tags/tag310.xml" ContentType="application/vnd.openxmlformats-officedocument.presentationml.tags+xml"/>
  <Override PartName="/ppt/notesSlides/notesSlide8.xml" ContentType="application/vnd.openxmlformats-officedocument.presentationml.notesSlide+xml"/>
  <Override PartName="/ppt/tags/tag311.xml" ContentType="application/vnd.openxmlformats-officedocument.presentationml.tags+xml"/>
  <Override PartName="/ppt/notesSlides/notesSlide9.xml" ContentType="application/vnd.openxmlformats-officedocument.presentationml.notesSlide+xml"/>
  <Override PartName="/ppt/tags/tag312.xml" ContentType="application/vnd.openxmlformats-officedocument.presentationml.tags+xml"/>
  <Override PartName="/ppt/notesSlides/notesSlide10.xml" ContentType="application/vnd.openxmlformats-officedocument.presentationml.notesSlide+xml"/>
  <Override PartName="/ppt/tags/tag313.xml" ContentType="application/vnd.openxmlformats-officedocument.presentationml.tags+xml"/>
  <Override PartName="/ppt/notesSlides/notesSlide11.xml" ContentType="application/vnd.openxmlformats-officedocument.presentationml.notesSlide+xml"/>
  <Override PartName="/ppt/tags/tag314.xml" ContentType="application/vnd.openxmlformats-officedocument.presentationml.tags+xml"/>
  <Override PartName="/ppt/notesSlides/notesSlide12.xml" ContentType="application/vnd.openxmlformats-officedocument.presentationml.notesSlide+xml"/>
  <Override PartName="/ppt/tags/tag315.xml" ContentType="application/vnd.openxmlformats-officedocument.presentationml.tags+xml"/>
  <Override PartName="/ppt/notesSlides/notesSlide13.xml" ContentType="application/vnd.openxmlformats-officedocument.presentationml.notesSlide+xml"/>
  <Override PartName="/ppt/tags/tag316.xml" ContentType="application/vnd.openxmlformats-officedocument.presentationml.tags+xml"/>
  <Override PartName="/ppt/notesSlides/notesSlide14.xml" ContentType="application/vnd.openxmlformats-officedocument.presentationml.notesSlide+xml"/>
  <Override PartName="/ppt/tags/tag317.xml" ContentType="application/vnd.openxmlformats-officedocument.presentationml.tags+xml"/>
  <Override PartName="/ppt/notesSlides/notesSlide15.xml" ContentType="application/vnd.openxmlformats-officedocument.presentationml.notesSlide+xml"/>
  <Override PartName="/ppt/tags/tag318.xml" ContentType="application/vnd.openxmlformats-officedocument.presentationml.tags+xml"/>
  <Override PartName="/ppt/notesSlides/notesSlide16.xml" ContentType="application/vnd.openxmlformats-officedocument.presentationml.notesSlide+xml"/>
  <Override PartName="/ppt/tags/tag319.xml" ContentType="application/vnd.openxmlformats-officedocument.presentationml.tags+xml"/>
  <Override PartName="/ppt/notesSlides/notesSlide17.xml" ContentType="application/vnd.openxmlformats-officedocument.presentationml.notesSlide+xml"/>
  <Override PartName="/ppt/tags/tag320.xml" ContentType="application/vnd.openxmlformats-officedocument.presentationml.tags+xml"/>
  <Override PartName="/ppt/notesSlides/notesSlide18.xml" ContentType="application/vnd.openxmlformats-officedocument.presentationml.notesSlide+xml"/>
  <Override PartName="/ppt/tags/tag321.xml" ContentType="application/vnd.openxmlformats-officedocument.presentationml.tags+xml"/>
  <Override PartName="/ppt/notesSlides/notesSlide19.xml" ContentType="application/vnd.openxmlformats-officedocument.presentationml.notesSlide+xml"/>
  <Override PartName="/ppt/tags/tag322.xml" ContentType="application/vnd.openxmlformats-officedocument.presentationml.tags+xml"/>
  <Override PartName="/ppt/notesSlides/notesSlide20.xml" ContentType="application/vnd.openxmlformats-officedocument.presentationml.notesSlide+xml"/>
  <Override PartName="/ppt/tags/tag323.xml" ContentType="application/vnd.openxmlformats-officedocument.presentationml.tags+xml"/>
  <Override PartName="/ppt/notesSlides/notesSlide21.xml" ContentType="application/vnd.openxmlformats-officedocument.presentationml.notesSlide+xml"/>
  <Override PartName="/ppt/tags/tag324.xml" ContentType="application/vnd.openxmlformats-officedocument.presentationml.tags+xml"/>
  <Override PartName="/ppt/notesSlides/notesSlide22.xml" ContentType="application/vnd.openxmlformats-officedocument.presentationml.notesSlide+xml"/>
  <Override PartName="/ppt/tags/tag325.xml" ContentType="application/vnd.openxmlformats-officedocument.presentationml.tags+xml"/>
  <Override PartName="/ppt/notesSlides/notesSlide23.xml" ContentType="application/vnd.openxmlformats-officedocument.presentationml.notesSlide+xml"/>
  <Override PartName="/ppt/tags/tag326.xml" ContentType="application/vnd.openxmlformats-officedocument.presentationml.tags+xml"/>
  <Override PartName="/ppt/notesSlides/notesSlide24.xml" ContentType="application/vnd.openxmlformats-officedocument.presentationml.notesSlide+xml"/>
  <Override PartName="/ppt/tags/tag327.xml" ContentType="application/vnd.openxmlformats-officedocument.presentationml.tags+xml"/>
  <Override PartName="/ppt/notesSlides/notesSlide25.xml" ContentType="application/vnd.openxmlformats-officedocument.presentationml.notesSlide+xml"/>
  <Override PartName="/ppt/tags/tag328.xml" ContentType="application/vnd.openxmlformats-officedocument.presentationml.tags+xml"/>
  <Override PartName="/ppt/notesSlides/notesSlide26.xml" ContentType="application/vnd.openxmlformats-officedocument.presentationml.notesSlide+xml"/>
  <Override PartName="/ppt/tags/tag329.xml" ContentType="application/vnd.openxmlformats-officedocument.presentationml.tags+xml"/>
  <Override PartName="/ppt/notesSlides/notesSlide27.xml" ContentType="application/vnd.openxmlformats-officedocument.presentationml.notesSlide+xml"/>
  <Override PartName="/ppt/tags/tag330.xml" ContentType="application/vnd.openxmlformats-officedocument.presentationml.tags+xml"/>
  <Override PartName="/ppt/notesSlides/notesSlide28.xml" ContentType="application/vnd.openxmlformats-officedocument.presentationml.notesSlide+xml"/>
  <Override PartName="/ppt/tags/tag331.xml" ContentType="application/vnd.openxmlformats-officedocument.presentationml.tags+xml"/>
  <Override PartName="/ppt/notesSlides/notesSlide29.xml" ContentType="application/vnd.openxmlformats-officedocument.presentationml.notesSlide+xml"/>
  <Override PartName="/ppt/tags/tag332.xml" ContentType="application/vnd.openxmlformats-officedocument.presentationml.tags+xml"/>
  <Override PartName="/ppt/notesSlides/notesSlide30.xml" ContentType="application/vnd.openxmlformats-officedocument.presentationml.notesSlide+xml"/>
  <Override PartName="/ppt/tags/tag333.xml" ContentType="application/vnd.openxmlformats-officedocument.presentationml.tags+xml"/>
  <Override PartName="/ppt/notesSlides/notesSlide31.xml" ContentType="application/vnd.openxmlformats-officedocument.presentationml.notesSlide+xml"/>
  <Override PartName="/ppt/tags/tag334.xml" ContentType="application/vnd.openxmlformats-officedocument.presentationml.tags+xml"/>
  <Override PartName="/ppt/notesSlides/notesSlide32.xml" ContentType="application/vnd.openxmlformats-officedocument.presentationml.notesSlide+xml"/>
  <Override PartName="/ppt/tags/tag335.xml" ContentType="application/vnd.openxmlformats-officedocument.presentationml.tags+xml"/>
  <Override PartName="/ppt/notesSlides/notesSlide33.xml" ContentType="application/vnd.openxmlformats-officedocument.presentationml.notesSlide+xml"/>
  <Override PartName="/ppt/tags/tag336.xml" ContentType="application/vnd.openxmlformats-officedocument.presentationml.tags+xml"/>
  <Override PartName="/ppt/notesSlides/notesSlide34.xml" ContentType="application/vnd.openxmlformats-officedocument.presentationml.notesSlide+xml"/>
  <Override PartName="/ppt/tags/tag337.xml" ContentType="application/vnd.openxmlformats-officedocument.presentationml.tags+xml"/>
  <Override PartName="/ppt/notesSlides/notesSlide35.xml" ContentType="application/vnd.openxmlformats-officedocument.presentationml.notesSlide+xml"/>
  <Override PartName="/ppt/tags/tag338.xml" ContentType="application/vnd.openxmlformats-officedocument.presentationml.tags+xml"/>
  <Override PartName="/ppt/notesSlides/notesSlide36.xml" ContentType="application/vnd.openxmlformats-officedocument.presentationml.notesSlide+xml"/>
  <Override PartName="/ppt/tags/tag339.xml" ContentType="application/vnd.openxmlformats-officedocument.presentationml.tags+xml"/>
  <Override PartName="/ppt/notesSlides/notesSlide37.xml" ContentType="application/vnd.openxmlformats-officedocument.presentationml.notesSlide+xml"/>
  <Override PartName="/ppt/tags/tag340.xml" ContentType="application/vnd.openxmlformats-officedocument.presentationml.tags+xml"/>
  <Override PartName="/ppt/notesSlides/notesSlide38.xml" ContentType="application/vnd.openxmlformats-officedocument.presentationml.notesSlide+xml"/>
  <Override PartName="/ppt/tags/tag341.xml" ContentType="application/vnd.openxmlformats-officedocument.presentationml.tags+xml"/>
  <Override PartName="/ppt/notesSlides/notesSlide39.xml" ContentType="application/vnd.openxmlformats-officedocument.presentationml.notesSlide+xml"/>
  <Override PartName="/ppt/tags/tag342.xml" ContentType="application/vnd.openxmlformats-officedocument.presentationml.tags+xml"/>
  <Override PartName="/ppt/notesSlides/notesSlide40.xml" ContentType="application/vnd.openxmlformats-officedocument.presentationml.notesSlide+xml"/>
  <Override PartName="/ppt/tags/tag343.xml" ContentType="application/vnd.openxmlformats-officedocument.presentationml.tags+xml"/>
  <Override PartName="/ppt/notesSlides/notesSlide41.xml" ContentType="application/vnd.openxmlformats-officedocument.presentationml.notesSlide+xml"/>
  <Override PartName="/ppt/tags/tag344.xml" ContentType="application/vnd.openxmlformats-officedocument.presentationml.tags+xml"/>
  <Override PartName="/ppt/notesSlides/notesSlide42.xml" ContentType="application/vnd.openxmlformats-officedocument.presentationml.notesSlide+xml"/>
  <Override PartName="/ppt/tags/tag345.xml" ContentType="application/vnd.openxmlformats-officedocument.presentationml.tags+xml"/>
  <Override PartName="/ppt/notesSlides/notesSlide43.xml" ContentType="application/vnd.openxmlformats-officedocument.presentationml.notesSlide+xml"/>
  <Override PartName="/ppt/tags/tag346.xml" ContentType="application/vnd.openxmlformats-officedocument.presentationml.tags+xml"/>
  <Override PartName="/ppt/notesSlides/notesSlide44.xml" ContentType="application/vnd.openxmlformats-officedocument.presentationml.notesSlide+xml"/>
  <Override PartName="/ppt/tags/tag347.xml" ContentType="application/vnd.openxmlformats-officedocument.presentationml.tags+xml"/>
  <Override PartName="/ppt/notesSlides/notesSlide45.xml" ContentType="application/vnd.openxmlformats-officedocument.presentationml.notesSlide+xml"/>
  <Override PartName="/ppt/tags/tag348.xml" ContentType="application/vnd.openxmlformats-officedocument.presentationml.tags+xml"/>
  <Override PartName="/ppt/notesSlides/notesSlide46.xml" ContentType="application/vnd.openxmlformats-officedocument.presentationml.notesSlide+xml"/>
  <Override PartName="/ppt/tags/tag349.xml" ContentType="application/vnd.openxmlformats-officedocument.presentationml.tags+xml"/>
  <Override PartName="/ppt/notesSlides/notesSlide47.xml" ContentType="application/vnd.openxmlformats-officedocument.presentationml.notesSlide+xml"/>
  <Override PartName="/ppt/tags/tag350.xml" ContentType="application/vnd.openxmlformats-officedocument.presentationml.tags+xml"/>
  <Override PartName="/ppt/notesSlides/notesSlide48.xml" ContentType="application/vnd.openxmlformats-officedocument.presentationml.notesSlide+xml"/>
  <Override PartName="/ppt/tags/tag351.xml" ContentType="application/vnd.openxmlformats-officedocument.presentationml.tags+xml"/>
  <Override PartName="/ppt/notesSlides/notesSlide49.xml" ContentType="application/vnd.openxmlformats-officedocument.presentationml.notesSlide+xml"/>
  <Override PartName="/ppt/tags/tag352.xml" ContentType="application/vnd.openxmlformats-officedocument.presentationml.tags+xml"/>
  <Override PartName="/ppt/notesSlides/notesSlide50.xml" ContentType="application/vnd.openxmlformats-officedocument.presentationml.notesSlide+xml"/>
  <Override PartName="/ppt/charts/chart356.xml" ContentType="application/vnd.openxmlformats-officedocument.drawingml.chart+xml"/>
  <Override PartName="/ppt/charts/style1.xml" ContentType="application/vnd.ms-office.chartstyle+xml"/>
  <Override PartName="/ppt/charts/colors1.xml" ContentType="application/vnd.ms-office.chartcolorstyle+xml"/>
  <Override PartName="/ppt/tags/tag353.xml" ContentType="application/vnd.openxmlformats-officedocument.presentationml.tags+xml"/>
  <Override PartName="/ppt/notesSlides/notesSlide51.xml" ContentType="application/vnd.openxmlformats-officedocument.presentationml.notesSlide+xml"/>
  <Override PartName="/ppt/charts/chart357.xml" ContentType="application/vnd.openxmlformats-officedocument.drawingml.chart+xml"/>
  <Override PartName="/ppt/charts/style2.xml" ContentType="application/vnd.ms-office.chartstyle+xml"/>
  <Override PartName="/ppt/charts/colors2.xml" ContentType="application/vnd.ms-office.chartcolorstyle+xml"/>
  <Override PartName="/ppt/tags/tag354.xml" ContentType="application/vnd.openxmlformats-officedocument.presentationml.tags+xml"/>
  <Override PartName="/ppt/notesSlides/notesSlide52.xml" ContentType="application/vnd.openxmlformats-officedocument.presentationml.notesSlide+xml"/>
  <Override PartName="/ppt/charts/chart358.xml" ContentType="application/vnd.openxmlformats-officedocument.drawingml.chart+xml"/>
  <Override PartName="/ppt/charts/style3.xml" ContentType="application/vnd.ms-office.chartstyle+xml"/>
  <Override PartName="/ppt/charts/colors3.xml" ContentType="application/vnd.ms-office.chartcolorstyle+xml"/>
  <Override PartName="/ppt/tags/tag355.xml" ContentType="application/vnd.openxmlformats-officedocument.presentationml.tags+xml"/>
  <Override PartName="/ppt/notesSlides/notesSlide53.xml" ContentType="application/vnd.openxmlformats-officedocument.presentationml.notesSlide+xml"/>
  <Override PartName="/ppt/charts/chart359.xml" ContentType="application/vnd.openxmlformats-officedocument.drawingml.chart+xml"/>
  <Override PartName="/ppt/charts/style4.xml" ContentType="application/vnd.ms-office.chartstyle+xml"/>
  <Override PartName="/ppt/charts/colors4.xml" ContentType="application/vnd.ms-office.chartcolorstyle+xml"/>
  <Override PartName="/ppt/tags/tag356.xml" ContentType="application/vnd.openxmlformats-officedocument.presentationml.tags+xml"/>
  <Override PartName="/ppt/notesSlides/notesSlide54.xml" ContentType="application/vnd.openxmlformats-officedocument.presentationml.notesSlide+xml"/>
  <Override PartName="/ppt/charts/chart360.xml" ContentType="application/vnd.openxmlformats-officedocument.drawingml.chart+xml"/>
  <Override PartName="/ppt/charts/style5.xml" ContentType="application/vnd.ms-office.chartstyle+xml"/>
  <Override PartName="/ppt/charts/colors5.xml" ContentType="application/vnd.ms-office.chartcolorstyle+xml"/>
  <Override PartName="/ppt/tags/tag357.xml" ContentType="application/vnd.openxmlformats-officedocument.presentationml.tags+xml"/>
  <Override PartName="/ppt/notesSlides/notesSlide55.xml" ContentType="application/vnd.openxmlformats-officedocument.presentationml.notesSlide+xml"/>
  <Override PartName="/ppt/charts/chart361.xml" ContentType="application/vnd.openxmlformats-officedocument.drawingml.chart+xml"/>
  <Override PartName="/ppt/charts/style6.xml" ContentType="application/vnd.ms-office.chartstyle+xml"/>
  <Override PartName="/ppt/charts/colors6.xml" ContentType="application/vnd.ms-office.chartcolorstyle+xml"/>
  <Override PartName="/ppt/tags/tag358.xml" ContentType="application/vnd.openxmlformats-officedocument.presentationml.tags+xml"/>
  <Override PartName="/ppt/notesSlides/notesSlide56.xml" ContentType="application/vnd.openxmlformats-officedocument.presentationml.notesSlide+xml"/>
  <Override PartName="/ppt/charts/chart362.xml" ContentType="application/vnd.openxmlformats-officedocument.drawingml.chart+xml"/>
  <Override PartName="/ppt/charts/style7.xml" ContentType="application/vnd.ms-office.chartstyle+xml"/>
  <Override PartName="/ppt/charts/colors7.xml" ContentType="application/vnd.ms-office.chartcolorstyle+xml"/>
  <Override PartName="/ppt/tags/tag359.xml" ContentType="application/vnd.openxmlformats-officedocument.presentationml.tags+xml"/>
  <Override PartName="/ppt/notesSlides/notesSlide57.xml" ContentType="application/vnd.openxmlformats-officedocument.presentationml.notesSlide+xml"/>
  <Override PartName="/ppt/charts/chart363.xml" ContentType="application/vnd.openxmlformats-officedocument.drawingml.chart+xml"/>
  <Override PartName="/ppt/charts/style8.xml" ContentType="application/vnd.ms-office.chartstyle+xml"/>
  <Override PartName="/ppt/charts/colors8.xml" ContentType="application/vnd.ms-office.chartcolorstyle+xml"/>
  <Override PartName="/ppt/tags/tag360.xml" ContentType="application/vnd.openxmlformats-officedocument.presentationml.tags+xml"/>
  <Override PartName="/ppt/notesSlides/notesSlide58.xml" ContentType="application/vnd.openxmlformats-officedocument.presentationml.notesSlide+xml"/>
  <Override PartName="/ppt/charts/chart364.xml" ContentType="application/vnd.openxmlformats-officedocument.drawingml.chart+xml"/>
  <Override PartName="/ppt/charts/style9.xml" ContentType="application/vnd.ms-office.chartstyle+xml"/>
  <Override PartName="/ppt/charts/colors9.xml" ContentType="application/vnd.ms-office.chartcolorstyle+xml"/>
  <Override PartName="/ppt/tags/tag361.xml" ContentType="application/vnd.openxmlformats-officedocument.presentationml.tags+xml"/>
  <Override PartName="/ppt/notesSlides/notesSlide59.xml" ContentType="application/vnd.openxmlformats-officedocument.presentationml.notesSlide+xml"/>
  <Override PartName="/ppt/charts/chart365.xml" ContentType="application/vnd.openxmlformats-officedocument.drawingml.chart+xml"/>
  <Override PartName="/ppt/charts/style10.xml" ContentType="application/vnd.ms-office.chartstyle+xml"/>
  <Override PartName="/ppt/charts/colors10.xml" ContentType="application/vnd.ms-office.chartcolorstyle+xml"/>
  <Override PartName="/ppt/tags/tag362.xml" ContentType="application/vnd.openxmlformats-officedocument.presentationml.tags+xml"/>
  <Override PartName="/ppt/notesSlides/notesSlide60.xml" ContentType="application/vnd.openxmlformats-officedocument.presentationml.notesSlide+xml"/>
  <Override PartName="/ppt/charts/chart366.xml" ContentType="application/vnd.openxmlformats-officedocument.drawingml.chart+xml"/>
  <Override PartName="/ppt/charts/style11.xml" ContentType="application/vnd.ms-office.chartstyle+xml"/>
  <Override PartName="/ppt/charts/colors11.xml" ContentType="application/vnd.ms-office.chartcolorstyle+xml"/>
  <Override PartName="/ppt/tags/tag363.xml" ContentType="application/vnd.openxmlformats-officedocument.presentationml.tags+xml"/>
  <Override PartName="/ppt/notesSlides/notesSlide61.xml" ContentType="application/vnd.openxmlformats-officedocument.presentationml.notesSlide+xml"/>
  <Override PartName="/ppt/charts/chart367.xml" ContentType="application/vnd.openxmlformats-officedocument.drawingml.chart+xml"/>
  <Override PartName="/ppt/charts/style12.xml" ContentType="application/vnd.ms-office.chartstyle+xml"/>
  <Override PartName="/ppt/charts/colors12.xml" ContentType="application/vnd.ms-office.chartcolorstyle+xml"/>
  <Override PartName="/ppt/tags/tag364.xml" ContentType="application/vnd.openxmlformats-officedocument.presentationml.tags+xml"/>
  <Override PartName="/ppt/notesSlides/notesSlide62.xml" ContentType="application/vnd.openxmlformats-officedocument.presentationml.notesSlide+xml"/>
  <Override PartName="/ppt/charts/chart368.xml" ContentType="application/vnd.openxmlformats-officedocument.drawingml.chart+xml"/>
  <Override PartName="/ppt/charts/style13.xml" ContentType="application/vnd.ms-office.chartstyle+xml"/>
  <Override PartName="/ppt/charts/colors13.xml" ContentType="application/vnd.ms-office.chartcolorstyle+xml"/>
  <Override PartName="/ppt/tags/tag365.xml" ContentType="application/vnd.openxmlformats-officedocument.presentationml.tags+xml"/>
  <Override PartName="/ppt/notesSlides/notesSlide63.xml" ContentType="application/vnd.openxmlformats-officedocument.presentationml.notesSlide+xml"/>
  <Override PartName="/ppt/charts/chart369.xml" ContentType="application/vnd.openxmlformats-officedocument.drawingml.chart+xml"/>
  <Override PartName="/ppt/charts/style14.xml" ContentType="application/vnd.ms-office.chartstyle+xml"/>
  <Override PartName="/ppt/charts/colors14.xml" ContentType="application/vnd.ms-office.chartcolorstyle+xml"/>
  <Override PartName="/ppt/tags/tag366.xml" ContentType="application/vnd.openxmlformats-officedocument.presentationml.tags+xml"/>
  <Override PartName="/ppt/notesSlides/notesSlide64.xml" ContentType="application/vnd.openxmlformats-officedocument.presentationml.notesSlide+xml"/>
  <Override PartName="/ppt/charts/chart370.xml" ContentType="application/vnd.openxmlformats-officedocument.drawingml.chart+xml"/>
  <Override PartName="/ppt/charts/style15.xml" ContentType="application/vnd.ms-office.chartstyle+xml"/>
  <Override PartName="/ppt/charts/colors15.xml" ContentType="application/vnd.ms-office.chartcolorstyle+xml"/>
  <Override PartName="/ppt/tags/tag367.xml" ContentType="application/vnd.openxmlformats-officedocument.presentationml.tags+xml"/>
  <Override PartName="/ppt/notesSlides/notesSlide65.xml" ContentType="application/vnd.openxmlformats-officedocument.presentationml.notesSlide+xml"/>
  <Override PartName="/ppt/charts/chart371.xml" ContentType="application/vnd.openxmlformats-officedocument.drawingml.chart+xml"/>
  <Override PartName="/ppt/charts/style16.xml" ContentType="application/vnd.ms-office.chartstyle+xml"/>
  <Override PartName="/ppt/charts/colors16.xml" ContentType="application/vnd.ms-office.chartcolorstyle+xml"/>
  <Override PartName="/ppt/tags/tag368.xml" ContentType="application/vnd.openxmlformats-officedocument.presentationml.tags+xml"/>
  <Override PartName="/ppt/notesSlides/notesSlide66.xml" ContentType="application/vnd.openxmlformats-officedocument.presentationml.notesSlide+xml"/>
  <Override PartName="/ppt/charts/chart372.xml" ContentType="application/vnd.openxmlformats-officedocument.drawingml.chart+xml"/>
  <Override PartName="/ppt/charts/style17.xml" ContentType="application/vnd.ms-office.chartstyle+xml"/>
  <Override PartName="/ppt/charts/colors17.xml" ContentType="application/vnd.ms-office.chartcolorstyle+xml"/>
  <Override PartName="/ppt/tags/tag369.xml" ContentType="application/vnd.openxmlformats-officedocument.presentationml.tags+xml"/>
  <Override PartName="/ppt/notesSlides/notesSlide67.xml" ContentType="application/vnd.openxmlformats-officedocument.presentationml.notesSlide+xml"/>
  <Override PartName="/ppt/charts/chart373.xml" ContentType="application/vnd.openxmlformats-officedocument.drawingml.chart+xml"/>
  <Override PartName="/ppt/charts/style18.xml" ContentType="application/vnd.ms-office.chartstyle+xml"/>
  <Override PartName="/ppt/charts/colors18.xml" ContentType="application/vnd.ms-office.chartcolorstyle+xml"/>
  <Override PartName="/ppt/tags/tag370.xml" ContentType="application/vnd.openxmlformats-officedocument.presentationml.tags+xml"/>
  <Override PartName="/ppt/notesSlides/notesSlide68.xml" ContentType="application/vnd.openxmlformats-officedocument.presentationml.notesSlide+xml"/>
  <Override PartName="/ppt/charts/chart374.xml" ContentType="application/vnd.openxmlformats-officedocument.drawingml.chart+xml"/>
  <Override PartName="/ppt/charts/style19.xml" ContentType="application/vnd.ms-office.chartstyle+xml"/>
  <Override PartName="/ppt/charts/colors19.xml" ContentType="application/vnd.ms-office.chartcolorstyle+xml"/>
  <Override PartName="/ppt/tags/tag371.xml" ContentType="application/vnd.openxmlformats-officedocument.presentationml.tags+xml"/>
  <Override PartName="/ppt/notesSlides/notesSlide69.xml" ContentType="application/vnd.openxmlformats-officedocument.presentationml.notesSlide+xml"/>
  <Override PartName="/ppt/charts/chart375.xml" ContentType="application/vnd.openxmlformats-officedocument.drawingml.chart+xml"/>
  <Override PartName="/ppt/charts/style20.xml" ContentType="application/vnd.ms-office.chartstyle+xml"/>
  <Override PartName="/ppt/charts/colors20.xml" ContentType="application/vnd.ms-office.chartcolorstyle+xml"/>
  <Override PartName="/ppt/tags/tag372.xml" ContentType="application/vnd.openxmlformats-officedocument.presentationml.tags+xml"/>
  <Override PartName="/ppt/notesSlides/notesSlide70.xml" ContentType="application/vnd.openxmlformats-officedocument.presentationml.notesSlide+xml"/>
  <Override PartName="/ppt/charts/chart376.xml" ContentType="application/vnd.openxmlformats-officedocument.drawingml.chart+xml"/>
  <Override PartName="/ppt/charts/style21.xml" ContentType="application/vnd.ms-office.chartstyle+xml"/>
  <Override PartName="/ppt/charts/colors21.xml" ContentType="application/vnd.ms-office.chartcolorstyle+xml"/>
  <Override PartName="/ppt/tags/tag373.xml" ContentType="application/vnd.openxmlformats-officedocument.presentationml.tags+xml"/>
  <Override PartName="/ppt/notesSlides/notesSlide71.xml" ContentType="application/vnd.openxmlformats-officedocument.presentationml.notesSlide+xml"/>
  <Override PartName="/ppt/charts/chart377.xml" ContentType="application/vnd.openxmlformats-officedocument.drawingml.chart+xml"/>
  <Override PartName="/ppt/charts/style22.xml" ContentType="application/vnd.ms-office.chartstyle+xml"/>
  <Override PartName="/ppt/charts/colors22.xml" ContentType="application/vnd.ms-office.chartcolorstyle+xml"/>
  <Override PartName="/ppt/tags/tag374.xml" ContentType="application/vnd.openxmlformats-officedocument.presentationml.tags+xml"/>
  <Override PartName="/ppt/notesSlides/notesSlide72.xml" ContentType="application/vnd.openxmlformats-officedocument.presentationml.notesSlide+xml"/>
  <Override PartName="/ppt/charts/chart378.xml" ContentType="application/vnd.openxmlformats-officedocument.drawingml.chart+xml"/>
  <Override PartName="/ppt/charts/style23.xml" ContentType="application/vnd.ms-office.chartstyle+xml"/>
  <Override PartName="/ppt/charts/colors23.xml" ContentType="application/vnd.ms-office.chartcolorstyle+xml"/>
  <Override PartName="/ppt/tags/tag375.xml" ContentType="application/vnd.openxmlformats-officedocument.presentationml.tags+xml"/>
  <Override PartName="/ppt/notesSlides/notesSlide73.xml" ContentType="application/vnd.openxmlformats-officedocument.presentationml.notesSlide+xml"/>
  <Override PartName="/ppt/charts/chart379.xml" ContentType="application/vnd.openxmlformats-officedocument.drawingml.chart+xml"/>
  <Override PartName="/ppt/charts/style24.xml" ContentType="application/vnd.ms-office.chartstyle+xml"/>
  <Override PartName="/ppt/charts/colors24.xml" ContentType="application/vnd.ms-office.chartcolorstyle+xml"/>
  <Override PartName="/ppt/tags/tag376.xml" ContentType="application/vnd.openxmlformats-officedocument.presentationml.tags+xml"/>
  <Override PartName="/ppt/notesSlides/notesSlide74.xml" ContentType="application/vnd.openxmlformats-officedocument.presentationml.notesSlide+xml"/>
  <Override PartName="/ppt/charts/chart380.xml" ContentType="application/vnd.openxmlformats-officedocument.drawingml.chart+xml"/>
  <Override PartName="/ppt/charts/style25.xml" ContentType="application/vnd.ms-office.chartstyle+xml"/>
  <Override PartName="/ppt/charts/colors25.xml" ContentType="application/vnd.ms-office.chartcolorstyle+xml"/>
  <Override PartName="/ppt/tags/tag377.xml" ContentType="application/vnd.openxmlformats-officedocument.presentationml.tags+xml"/>
  <Override PartName="/ppt/notesSlides/notesSlide75.xml" ContentType="application/vnd.openxmlformats-officedocument.presentationml.notesSlide+xml"/>
  <Override PartName="/ppt/charts/chart381.xml" ContentType="application/vnd.openxmlformats-officedocument.drawingml.chart+xml"/>
  <Override PartName="/ppt/charts/style26.xml" ContentType="application/vnd.ms-office.chartstyle+xml"/>
  <Override PartName="/ppt/charts/colors26.xml" ContentType="application/vnd.ms-office.chartcolorstyle+xml"/>
  <Override PartName="/ppt/tags/tag378.xml" ContentType="application/vnd.openxmlformats-officedocument.presentationml.tags+xml"/>
  <Override PartName="/ppt/notesSlides/notesSlide76.xml" ContentType="application/vnd.openxmlformats-officedocument.presentationml.notesSlide+xml"/>
  <Override PartName="/ppt/charts/chart382.xml" ContentType="application/vnd.openxmlformats-officedocument.drawingml.chart+xml"/>
  <Override PartName="/ppt/charts/style27.xml" ContentType="application/vnd.ms-office.chartstyle+xml"/>
  <Override PartName="/ppt/charts/colors27.xml" ContentType="application/vnd.ms-office.chartcolorstyle+xml"/>
  <Override PartName="/ppt/tags/tag379.xml" ContentType="application/vnd.openxmlformats-officedocument.presentationml.tags+xml"/>
  <Override PartName="/ppt/notesSlides/notesSlide77.xml" ContentType="application/vnd.openxmlformats-officedocument.presentationml.notesSlide+xml"/>
  <Override PartName="/ppt/charts/chart383.xml" ContentType="application/vnd.openxmlformats-officedocument.drawingml.chart+xml"/>
  <Override PartName="/ppt/charts/style28.xml" ContentType="application/vnd.ms-office.chartstyle+xml"/>
  <Override PartName="/ppt/charts/colors28.xml" ContentType="application/vnd.ms-office.chartcolorstyle+xml"/>
  <Override PartName="/ppt/tags/tag380.xml" ContentType="application/vnd.openxmlformats-officedocument.presentationml.tags+xml"/>
  <Override PartName="/ppt/notesSlides/notesSlide78.xml" ContentType="application/vnd.openxmlformats-officedocument.presentationml.notesSlide+xml"/>
  <Override PartName="/ppt/charts/chart384.xml" ContentType="application/vnd.openxmlformats-officedocument.drawingml.chart+xml"/>
  <Override PartName="/ppt/charts/style29.xml" ContentType="application/vnd.ms-office.chartstyle+xml"/>
  <Override PartName="/ppt/charts/colors29.xml" ContentType="application/vnd.ms-office.chartcolorstyle+xml"/>
  <Override PartName="/ppt/tags/tag381.xml" ContentType="application/vnd.openxmlformats-officedocument.presentationml.tags+xml"/>
  <Override PartName="/ppt/notesSlides/notesSlide79.xml" ContentType="application/vnd.openxmlformats-officedocument.presentationml.notesSlide+xml"/>
  <Override PartName="/ppt/charts/chart385.xml" ContentType="application/vnd.openxmlformats-officedocument.drawingml.chart+xml"/>
  <Override PartName="/ppt/charts/style30.xml" ContentType="application/vnd.ms-office.chartstyle+xml"/>
  <Override PartName="/ppt/charts/colors30.xml" ContentType="application/vnd.ms-office.chartcolorstyle+xml"/>
  <Override PartName="/ppt/tags/tag382.xml" ContentType="application/vnd.openxmlformats-officedocument.presentationml.tags+xml"/>
  <Override PartName="/ppt/notesSlides/notesSlide80.xml" ContentType="application/vnd.openxmlformats-officedocument.presentationml.notesSlide+xml"/>
  <Override PartName="/ppt/charts/chart386.xml" ContentType="application/vnd.openxmlformats-officedocument.drawingml.chart+xml"/>
  <Override PartName="/ppt/charts/style31.xml" ContentType="application/vnd.ms-office.chartstyle+xml"/>
  <Override PartName="/ppt/charts/colors31.xml" ContentType="application/vnd.ms-office.chartcolorstyle+xml"/>
  <Override PartName="/ppt/tags/tag383.xml" ContentType="application/vnd.openxmlformats-officedocument.presentationml.tags+xml"/>
  <Override PartName="/ppt/notesSlides/notesSlide81.xml" ContentType="application/vnd.openxmlformats-officedocument.presentationml.notesSlide+xml"/>
  <Override PartName="/ppt/charts/chart387.xml" ContentType="application/vnd.openxmlformats-officedocument.drawingml.chart+xml"/>
  <Override PartName="/ppt/charts/style32.xml" ContentType="application/vnd.ms-office.chartstyle+xml"/>
  <Override PartName="/ppt/charts/colors32.xml" ContentType="application/vnd.ms-office.chartcolorstyle+xml"/>
  <Override PartName="/ppt/tags/tag384.xml" ContentType="application/vnd.openxmlformats-officedocument.presentationml.tags+xml"/>
  <Override PartName="/ppt/notesSlides/notesSlide82.xml" ContentType="application/vnd.openxmlformats-officedocument.presentationml.notesSlide+xml"/>
  <Override PartName="/ppt/charts/chart388.xml" ContentType="application/vnd.openxmlformats-officedocument.drawingml.chart+xml"/>
  <Override PartName="/ppt/charts/style33.xml" ContentType="application/vnd.ms-office.chartstyle+xml"/>
  <Override PartName="/ppt/charts/colors33.xml" ContentType="application/vnd.ms-office.chartcolorstyle+xml"/>
  <Override PartName="/ppt/tags/tag385.xml" ContentType="application/vnd.openxmlformats-officedocument.presentationml.tags+xml"/>
  <Override PartName="/ppt/notesSlides/notesSlide83.xml" ContentType="application/vnd.openxmlformats-officedocument.presentationml.notesSlide+xml"/>
  <Override PartName="/ppt/charts/chart389.xml" ContentType="application/vnd.openxmlformats-officedocument.drawingml.chart+xml"/>
  <Override PartName="/ppt/charts/style34.xml" ContentType="application/vnd.ms-office.chartstyle+xml"/>
  <Override PartName="/ppt/charts/colors34.xml" ContentType="application/vnd.ms-office.chartcolorstyle+xml"/>
  <Override PartName="/ppt/tags/tag386.xml" ContentType="application/vnd.openxmlformats-officedocument.presentationml.tags+xml"/>
  <Override PartName="/ppt/notesSlides/notesSlide84.xml" ContentType="application/vnd.openxmlformats-officedocument.presentationml.notesSlide+xml"/>
  <Override PartName="/ppt/charts/chart390.xml" ContentType="application/vnd.openxmlformats-officedocument.drawingml.chart+xml"/>
  <Override PartName="/ppt/charts/style35.xml" ContentType="application/vnd.ms-office.chartstyle+xml"/>
  <Override PartName="/ppt/charts/colors35.xml" ContentType="application/vnd.ms-office.chartcolorstyle+xml"/>
  <Override PartName="/ppt/tags/tag387.xml" ContentType="application/vnd.openxmlformats-officedocument.presentationml.tags+xml"/>
  <Override PartName="/ppt/notesSlides/notesSlide85.xml" ContentType="application/vnd.openxmlformats-officedocument.presentationml.notesSlide+xml"/>
  <Override PartName="/ppt/charts/chart391.xml" ContentType="application/vnd.openxmlformats-officedocument.drawingml.chart+xml"/>
  <Override PartName="/ppt/charts/style36.xml" ContentType="application/vnd.ms-office.chartstyle+xml"/>
  <Override PartName="/ppt/charts/colors36.xml" ContentType="application/vnd.ms-office.chartcolorstyle+xml"/>
  <Override PartName="/ppt/tags/tag388.xml" ContentType="application/vnd.openxmlformats-officedocument.presentationml.tags+xml"/>
  <Override PartName="/ppt/notesSlides/notesSlide86.xml" ContentType="application/vnd.openxmlformats-officedocument.presentationml.notesSlide+xml"/>
  <Override PartName="/ppt/charts/chart392.xml" ContentType="application/vnd.openxmlformats-officedocument.drawingml.chart+xml"/>
  <Override PartName="/ppt/charts/style37.xml" ContentType="application/vnd.ms-office.chartstyle+xml"/>
  <Override PartName="/ppt/charts/colors37.xml" ContentType="application/vnd.ms-office.chartcolorstyle+xml"/>
  <Override PartName="/ppt/tags/tag389.xml" ContentType="application/vnd.openxmlformats-officedocument.presentationml.tags+xml"/>
  <Override PartName="/ppt/notesSlides/notesSlide87.xml" ContentType="application/vnd.openxmlformats-officedocument.presentationml.notesSlide+xml"/>
  <Override PartName="/ppt/charts/chart393.xml" ContentType="application/vnd.openxmlformats-officedocument.drawingml.chart+xml"/>
  <Override PartName="/ppt/charts/style38.xml" ContentType="application/vnd.ms-office.chartstyle+xml"/>
  <Override PartName="/ppt/charts/colors38.xml" ContentType="application/vnd.ms-office.chartcolorstyle+xml"/>
  <Override PartName="/ppt/tags/tag390.xml" ContentType="application/vnd.openxmlformats-officedocument.presentationml.tags+xml"/>
  <Override PartName="/ppt/notesSlides/notesSlide88.xml" ContentType="application/vnd.openxmlformats-officedocument.presentationml.notesSlide+xml"/>
  <Override PartName="/ppt/charts/chart394.xml" ContentType="application/vnd.openxmlformats-officedocument.drawingml.chart+xml"/>
  <Override PartName="/ppt/charts/style39.xml" ContentType="application/vnd.ms-office.chartstyle+xml"/>
  <Override PartName="/ppt/charts/colors39.xml" ContentType="application/vnd.ms-office.chartcolorstyle+xml"/>
  <Override PartName="/ppt/tags/tag391.xml" ContentType="application/vnd.openxmlformats-officedocument.presentationml.tags+xml"/>
  <Override PartName="/ppt/notesSlides/notesSlide89.xml" ContentType="application/vnd.openxmlformats-officedocument.presentationml.notesSlide+xml"/>
  <Override PartName="/ppt/charts/chart395.xml" ContentType="application/vnd.openxmlformats-officedocument.drawingml.chart+xml"/>
  <Override PartName="/ppt/charts/style40.xml" ContentType="application/vnd.ms-office.chartstyle+xml"/>
  <Override PartName="/ppt/charts/colors40.xml" ContentType="application/vnd.ms-office.chartcolorstyle+xml"/>
  <Override PartName="/ppt/tags/tag392.xml" ContentType="application/vnd.openxmlformats-officedocument.presentationml.tags+xml"/>
  <Override PartName="/ppt/notesSlides/notesSlide90.xml" ContentType="application/vnd.openxmlformats-officedocument.presentationml.notesSlide+xml"/>
  <Override PartName="/ppt/charts/chart396.xml" ContentType="application/vnd.openxmlformats-officedocument.drawingml.chart+xml"/>
  <Override PartName="/ppt/charts/style41.xml" ContentType="application/vnd.ms-office.chartstyle+xml"/>
  <Override PartName="/ppt/charts/colors41.xml" ContentType="application/vnd.ms-office.chartcolorstyle+xml"/>
  <Override PartName="/ppt/tags/tag393.xml" ContentType="application/vnd.openxmlformats-officedocument.presentationml.tags+xml"/>
  <Override PartName="/ppt/notesSlides/notesSlide91.xml" ContentType="application/vnd.openxmlformats-officedocument.presentationml.notesSlide+xml"/>
  <Override PartName="/ppt/charts/chart397.xml" ContentType="application/vnd.openxmlformats-officedocument.drawingml.chart+xml"/>
  <Override PartName="/ppt/charts/style42.xml" ContentType="application/vnd.ms-office.chartstyle+xml"/>
  <Override PartName="/ppt/charts/colors42.xml" ContentType="application/vnd.ms-office.chartcolorstyle+xml"/>
  <Override PartName="/ppt/tags/tag394.xml" ContentType="application/vnd.openxmlformats-officedocument.presentationml.tags+xml"/>
  <Override PartName="/ppt/notesSlides/notesSlide92.xml" ContentType="application/vnd.openxmlformats-officedocument.presentationml.notesSlide+xml"/>
  <Override PartName="/ppt/charts/chart398.xml" ContentType="application/vnd.openxmlformats-officedocument.drawingml.chart+xml"/>
  <Override PartName="/ppt/charts/style43.xml" ContentType="application/vnd.ms-office.chartstyle+xml"/>
  <Override PartName="/ppt/charts/colors43.xml" ContentType="application/vnd.ms-office.chartcolorstyle+xml"/>
  <Override PartName="/ppt/tags/tag395.xml" ContentType="application/vnd.openxmlformats-officedocument.presentationml.tags+xml"/>
  <Override PartName="/ppt/notesSlides/notesSlide93.xml" ContentType="application/vnd.openxmlformats-officedocument.presentationml.notesSlide+xml"/>
  <Override PartName="/ppt/charts/chart399.xml" ContentType="application/vnd.openxmlformats-officedocument.drawingml.chart+xml"/>
  <Override PartName="/ppt/charts/style44.xml" ContentType="application/vnd.ms-office.chartstyle+xml"/>
  <Override PartName="/ppt/charts/colors44.xml" ContentType="application/vnd.ms-office.chartcolorstyle+xml"/>
  <Override PartName="/ppt/tags/tag396.xml" ContentType="application/vnd.openxmlformats-officedocument.presentationml.tags+xml"/>
  <Override PartName="/ppt/notesSlides/notesSlide94.xml" ContentType="application/vnd.openxmlformats-officedocument.presentationml.notesSlide+xml"/>
  <Override PartName="/ppt/charts/chart400.xml" ContentType="application/vnd.openxmlformats-officedocument.drawingml.chart+xml"/>
  <Override PartName="/ppt/charts/style45.xml" ContentType="application/vnd.ms-office.chartstyle+xml"/>
  <Override PartName="/ppt/charts/colors45.xml" ContentType="application/vnd.ms-office.chartcolorstyle+xml"/>
  <Override PartName="/ppt/tags/tag397.xml" ContentType="application/vnd.openxmlformats-officedocument.presentationml.tags+xml"/>
  <Override PartName="/ppt/notesSlides/notesSlide95.xml" ContentType="application/vnd.openxmlformats-officedocument.presentationml.notesSlide+xml"/>
  <Override PartName="/ppt/charts/chart401.xml" ContentType="application/vnd.openxmlformats-officedocument.drawingml.chart+xml"/>
  <Override PartName="/ppt/charts/style46.xml" ContentType="application/vnd.ms-office.chartstyle+xml"/>
  <Override PartName="/ppt/charts/colors46.xml" ContentType="application/vnd.ms-office.chartcolorstyle+xml"/>
  <Override PartName="/ppt/tags/tag398.xml" ContentType="application/vnd.openxmlformats-officedocument.presentationml.tags+xml"/>
  <Override PartName="/ppt/notesSlides/notesSlide96.xml" ContentType="application/vnd.openxmlformats-officedocument.presentationml.notesSlide+xml"/>
  <Override PartName="/ppt/charts/chart402.xml" ContentType="application/vnd.openxmlformats-officedocument.drawingml.chart+xml"/>
  <Override PartName="/ppt/charts/style47.xml" ContentType="application/vnd.ms-office.chartstyle+xml"/>
  <Override PartName="/ppt/charts/colors47.xml" ContentType="application/vnd.ms-office.chartcolorstyle+xml"/>
  <Override PartName="/ppt/tags/tag399.xml" ContentType="application/vnd.openxmlformats-officedocument.presentationml.tags+xml"/>
  <Override PartName="/ppt/notesSlides/notesSlide97.xml" ContentType="application/vnd.openxmlformats-officedocument.presentationml.notesSlide+xml"/>
  <Override PartName="/ppt/charts/chart403.xml" ContentType="application/vnd.openxmlformats-officedocument.drawingml.chart+xml"/>
  <Override PartName="/ppt/charts/style48.xml" ContentType="application/vnd.ms-office.chartstyle+xml"/>
  <Override PartName="/ppt/charts/colors48.xml" ContentType="application/vnd.ms-office.chartcolorstyle+xml"/>
  <Override PartName="/ppt/tags/tag400.xml" ContentType="application/vnd.openxmlformats-officedocument.presentationml.tags+xml"/>
  <Override PartName="/ppt/notesSlides/notesSlide98.xml" ContentType="application/vnd.openxmlformats-officedocument.presentationml.notesSlide+xml"/>
  <Override PartName="/ppt/charts/chart404.xml" ContentType="application/vnd.openxmlformats-officedocument.drawingml.chart+xml"/>
  <Override PartName="/ppt/charts/style49.xml" ContentType="application/vnd.ms-office.chartstyle+xml"/>
  <Override PartName="/ppt/charts/colors49.xml" ContentType="application/vnd.ms-office.chartcolorstyle+xml"/>
  <Override PartName="/ppt/tags/tag401.xml" ContentType="application/vnd.openxmlformats-officedocument.presentationml.tags+xml"/>
  <Override PartName="/ppt/notesSlides/notesSlide99.xml" ContentType="application/vnd.openxmlformats-officedocument.presentationml.notesSlide+xml"/>
  <Override PartName="/ppt/charts/chart405.xml" ContentType="application/vnd.openxmlformats-officedocument.drawingml.chart+xml"/>
  <Override PartName="/ppt/charts/style50.xml" ContentType="application/vnd.ms-office.chartstyle+xml"/>
  <Override PartName="/ppt/charts/colors50.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379"/>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 id="2147477606" r:id="rId246"/>
    <p:sldId id="2147477607" r:id="rId247"/>
    <p:sldId id="2147477608" r:id="rId248"/>
    <p:sldId id="2147477609" r:id="rId249"/>
    <p:sldId id="2147477610" r:id="rId250"/>
    <p:sldId id="2147477611" r:id="rId251"/>
    <p:sldId id="2147477612" r:id="rId252"/>
    <p:sldId id="2147477613" r:id="rId253"/>
    <p:sldId id="2147477614" r:id="rId254"/>
    <p:sldId id="2147477615" r:id="rId255"/>
    <p:sldId id="2147477616" r:id="rId256"/>
    <p:sldId id="2147477617" r:id="rId257"/>
    <p:sldId id="2147477618" r:id="rId258"/>
    <p:sldId id="2147477619" r:id="rId259"/>
    <p:sldId id="2147477620" r:id="rId260"/>
    <p:sldId id="2147477621" r:id="rId261"/>
    <p:sldId id="2147477622" r:id="rId262"/>
    <p:sldId id="2147477623" r:id="rId263"/>
    <p:sldId id="2147477624" r:id="rId264"/>
    <p:sldId id="2147477625" r:id="rId265"/>
    <p:sldId id="2147477626" r:id="rId266"/>
    <p:sldId id="2147477627" r:id="rId267"/>
    <p:sldId id="2147477628" r:id="rId268"/>
    <p:sldId id="2147477629" r:id="rId269"/>
    <p:sldId id="2147477630" r:id="rId270"/>
    <p:sldId id="2147477631" r:id="rId271"/>
    <p:sldId id="2147477632" r:id="rId272"/>
    <p:sldId id="2147477633" r:id="rId273"/>
    <p:sldId id="2147477634" r:id="rId274"/>
    <p:sldId id="2147477635" r:id="rId275"/>
    <p:sldId id="2147477636" r:id="rId276"/>
    <p:sldId id="2147477637" r:id="rId277"/>
    <p:sldId id="2147477638" r:id="rId278"/>
    <p:sldId id="2147477639" r:id="rId279"/>
    <p:sldId id="2147477640" r:id="rId280"/>
    <p:sldId id="2147477641" r:id="rId281"/>
    <p:sldId id="2147477642" r:id="rId282"/>
    <p:sldId id="2147477643" r:id="rId283"/>
    <p:sldId id="2147477644" r:id="rId284"/>
    <p:sldId id="2147477645" r:id="rId285"/>
    <p:sldId id="2147477646" r:id="rId286"/>
    <p:sldId id="2147477647" r:id="rId287"/>
    <p:sldId id="2147477648" r:id="rId288"/>
    <p:sldId id="2147477649" r:id="rId289"/>
    <p:sldId id="2147477650" r:id="rId290"/>
    <p:sldId id="2147477651" r:id="rId291"/>
    <p:sldId id="2147477652" r:id="rId292"/>
    <p:sldId id="2147477653" r:id="rId293"/>
    <p:sldId id="2147477654" r:id="rId294"/>
    <p:sldId id="2147477655" r:id="rId295"/>
    <p:sldId id="2147477656" r:id="rId296"/>
    <p:sldId id="2147477657" r:id="rId297"/>
    <p:sldId id="2147477658" r:id="rId298"/>
    <p:sldId id="2147477659" r:id="rId299"/>
    <p:sldId id="2147477660" r:id="rId300"/>
    <p:sldId id="2147477661" r:id="rId301"/>
    <p:sldId id="2147477662" r:id="rId302"/>
    <p:sldId id="2147477663" r:id="rId303"/>
    <p:sldId id="2147477664" r:id="rId304"/>
    <p:sldId id="2147477665" r:id="rId305"/>
    <p:sldId id="2147477666" r:id="rId306"/>
    <p:sldId id="2147477667" r:id="rId307"/>
    <p:sldId id="2147477668" r:id="rId308"/>
    <p:sldId id="2147477669" r:id="rId309"/>
    <p:sldId id="2147477670" r:id="rId310"/>
    <p:sldId id="2147477671" r:id="rId311"/>
    <p:sldId id="2147477672" r:id="rId312"/>
    <p:sldId id="2147477673" r:id="rId313"/>
    <p:sldId id="2147477674" r:id="rId314"/>
    <p:sldId id="2147477675" r:id="rId315"/>
    <p:sldId id="2147477676" r:id="rId316"/>
    <p:sldId id="2147477677" r:id="rId317"/>
    <p:sldId id="2147477678" r:id="rId318"/>
    <p:sldId id="2147477679" r:id="rId319"/>
    <p:sldId id="2147477680" r:id="rId320"/>
    <p:sldId id="2147477681" r:id="rId321"/>
    <p:sldId id="2147477682" r:id="rId322"/>
    <p:sldId id="2147477683" r:id="rId323"/>
    <p:sldId id="2147477684" r:id="rId324"/>
    <p:sldId id="2147477685" r:id="rId325"/>
    <p:sldId id="2147477686" r:id="rId326"/>
    <p:sldId id="2147477687" r:id="rId327"/>
    <p:sldId id="2147477688" r:id="rId328"/>
    <p:sldId id="2147477689" r:id="rId329"/>
    <p:sldId id="2147477690" r:id="rId330"/>
    <p:sldId id="2147477691" r:id="rId331"/>
    <p:sldId id="2147477692" r:id="rId332"/>
    <p:sldId id="2147477693" r:id="rId333"/>
    <p:sldId id="2147477694" r:id="rId334"/>
    <p:sldId id="2147477695" r:id="rId335"/>
    <p:sldId id="2147477696" r:id="rId336"/>
    <p:sldId id="2147477697" r:id="rId337"/>
    <p:sldId id="2147477698" r:id="rId338"/>
    <p:sldId id="2147477699" r:id="rId339"/>
    <p:sldId id="2147477700" r:id="rId340"/>
    <p:sldId id="2147477701" r:id="rId341"/>
    <p:sldId id="2147477702" r:id="rId342"/>
    <p:sldId id="2147477703" r:id="rId343"/>
    <p:sldId id="2147477704" r:id="rId344"/>
    <p:sldId id="2147477705" r:id="rId345"/>
    <p:sldId id="2147477706" r:id="rId346"/>
    <p:sldId id="2147477707" r:id="rId347"/>
    <p:sldId id="2147477708" r:id="rId348"/>
    <p:sldId id="2147477709" r:id="rId349"/>
    <p:sldId id="2147477710" r:id="rId350"/>
    <p:sldId id="2147477711" r:id="rId351"/>
    <p:sldId id="2147477712" r:id="rId352"/>
    <p:sldId id="2147477713" r:id="rId353"/>
    <p:sldId id="2147477714" r:id="rId354"/>
    <p:sldId id="2147477715" r:id="rId355"/>
    <p:sldId id="2147477716" r:id="rId356"/>
    <p:sldId id="2147477717" r:id="rId357"/>
    <p:sldId id="2147477718" r:id="rId358"/>
    <p:sldId id="2147477719" r:id="rId359"/>
    <p:sldId id="2147477720" r:id="rId360"/>
    <p:sldId id="2147477721" r:id="rId361"/>
    <p:sldId id="2147477722" r:id="rId362"/>
    <p:sldId id="2147477723" r:id="rId363"/>
    <p:sldId id="2147477724" r:id="rId364"/>
    <p:sldId id="2147477725" r:id="rId365"/>
    <p:sldId id="2147477726" r:id="rId366"/>
    <p:sldId id="2147477727" r:id="rId367"/>
    <p:sldId id="2147477728" r:id="rId368"/>
    <p:sldId id="2147477729" r:id="rId369"/>
    <p:sldId id="2147477730" r:id="rId370"/>
    <p:sldId id="2147477731" r:id="rId371"/>
    <p:sldId id="2147477732" r:id="rId372"/>
    <p:sldId id="2147477733" r:id="rId373"/>
    <p:sldId id="2147477734" r:id="rId374"/>
    <p:sldId id="2147477735" r:id="rId375"/>
    <p:sldId id="2147477736" r:id="rId376"/>
    <p:sldId id="2147477737" r:id="rId377"/>
    <p:sldId id="2147477738" r:id="rId37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Summary Category" id="{4B07DE9C-A9BD-4D0E-98BF-73AD130F6FB2}">
          <p14:sldIdLst>
            <p14:sldId id="2147477365"/>
            <p14:sldId id="2147477366"/>
            <p14:sldId id="2147477367"/>
            <p14:sldId id="2147477368"/>
            <p14:sldId id="2147477369"/>
          </p14:sldIdLst>
        </p14:section>
        <p14:section name="Price Positioning Summary Sector" id="{D5AD6C18-2E74-4EBB-A598-0DAA0A0995BE}">
          <p14:sldIdLst>
            <p14:sldId id="2147477370"/>
            <p14:sldId id="2147477371"/>
            <p14:sldId id="2147477372"/>
            <p14:sldId id="2147477373"/>
            <p14:sldId id="2147477374"/>
          </p14:sldIdLst>
        </p14:section>
        <p14:section name="Price Positioning Summary Segment" id="{F4F9416E-8EA8-4F9F-BCF7-8F4BE5F7BC73}">
          <p14:sldIdLst>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Lst>
        </p14:section>
        <p14:section name="Price Positioning Analysis By Brands" id="{B444D967-DA6F-4FB7-B2C6-5CC7FF8A8D8A}">
          <p14:sldIdLst>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Lst>
        </p14:section>
        <p14:section name="Price Positioning Analysis By Manufacturer" id="{E5376A30-87C7-4E52-A293-CE1CD2291E63}">
          <p14:sldIdLst>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Lst>
        </p14:section>
        <p14:section name="Sectors Share and Growth By Brands" id="{5078DEB1-0FA9-470D-86FD-C681E58877BD}">
          <p14:sldIdLst>
            <p14:sldId id="2147477640"/>
            <p14:sldId id="2147477641"/>
            <p14:sldId id="2147477642"/>
            <p14:sldId id="2147477643"/>
            <p14:sldId id="2147477644"/>
          </p14:sldIdLst>
        </p14:section>
        <p14:section name="Segments Share and Growth By Brands" id="{3ADF3095-1BF4-476B-B62B-5493634B3C38}">
          <p14:sldIdLst>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Lst>
        </p14:section>
        <p14:section name="Sectors Share and Growth By Manufacturer" id="{DEE2224B-F7C0-4759-9E3A-9F4EB9BCF3D5}">
          <p14:sldIdLst>
            <p14:sldId id="2147477665"/>
            <p14:sldId id="2147477666"/>
            <p14:sldId id="2147477667"/>
            <p14:sldId id="2147477668"/>
            <p14:sldId id="2147477669"/>
          </p14:sldIdLst>
        </p14:section>
        <p14:section name="Segments Share and Growth By Manufacturer" id="{2A5B7606-7CE5-430E-9FB6-13E2C965F0E3}">
          <p14:sldIdLst>
            <p14:sldId id="2147477670"/>
            <p14:sldId id="2147477671"/>
            <p14:sldId id="2147477672"/>
            <p14:sldId id="2147477673"/>
            <p14:sldId id="2147477674"/>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Lst>
        </p14:section>
        <p14:section name="Sec/Seg Value Sales Vs Avg Price By Manufacturer" id="{CE495E3C-B642-42D6-92A8-BCF1440E8DF6}">
          <p14:sldIdLst>
            <p14:sldId id="2147477689"/>
            <p14:sldId id="2147477690"/>
            <p14:sldId id="2147477691"/>
            <p14:sldId id="2147477692"/>
            <p14:sldId id="2147477693"/>
          </p14:sldIdLst>
        </p14:section>
        <p14:section name="Sec/Seg Value Sales Vs Avg Price" id="{AE2B4D00-94A1-4360-9950-342FC1848B15}">
          <p14:sldIdLst>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Lst>
        </p14:section>
        <p14:section name="Sectors Value Sales Vs Avg Price" id="{C60FD835-89C7-44E4-8B3C-E8127B8BA9EC}">
          <p14:sldIdLst>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 id="2147477723"/>
          </p14:sldIdLst>
        </p14:section>
        <p14:section name="Segment Value Sales Vs Avg Price" id="{520DDDBE-464A-4CB9-80DA-C066F0F92074}">
          <p14:sldIdLst>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1042" y="53"/>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99" Type="http://schemas.openxmlformats.org/officeDocument/2006/relationships/slide" Target="slides/slide295.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324" Type="http://schemas.openxmlformats.org/officeDocument/2006/relationships/slide" Target="slides/slide320.xml"/><Relationship Id="rId366" Type="http://schemas.openxmlformats.org/officeDocument/2006/relationships/slide" Target="slides/slide362.xml"/><Relationship Id="rId170" Type="http://schemas.openxmlformats.org/officeDocument/2006/relationships/slide" Target="slides/slide166.xml"/><Relationship Id="rId226" Type="http://schemas.openxmlformats.org/officeDocument/2006/relationships/slide" Target="slides/slide222.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335" Type="http://schemas.openxmlformats.org/officeDocument/2006/relationships/slide" Target="slides/slide331.xml"/><Relationship Id="rId377" Type="http://schemas.openxmlformats.org/officeDocument/2006/relationships/slide" Target="slides/slide373.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279" Type="http://schemas.openxmlformats.org/officeDocument/2006/relationships/slide" Target="slides/slide275.xml"/><Relationship Id="rId43" Type="http://schemas.openxmlformats.org/officeDocument/2006/relationships/slide" Target="slides/slide39.xml"/><Relationship Id="rId139" Type="http://schemas.openxmlformats.org/officeDocument/2006/relationships/slide" Target="slides/slide135.xml"/><Relationship Id="rId290" Type="http://schemas.openxmlformats.org/officeDocument/2006/relationships/slide" Target="slides/slide286.xml"/><Relationship Id="rId304" Type="http://schemas.openxmlformats.org/officeDocument/2006/relationships/slide" Target="slides/slide300.xml"/><Relationship Id="rId346" Type="http://schemas.openxmlformats.org/officeDocument/2006/relationships/slide" Target="slides/slide342.xml"/><Relationship Id="rId85" Type="http://schemas.openxmlformats.org/officeDocument/2006/relationships/slide" Target="slides/slide81.xml"/><Relationship Id="rId150" Type="http://schemas.openxmlformats.org/officeDocument/2006/relationships/slide" Target="slides/slide146.xml"/><Relationship Id="rId192" Type="http://schemas.openxmlformats.org/officeDocument/2006/relationships/slide" Target="slides/slide188.xml"/><Relationship Id="rId206" Type="http://schemas.openxmlformats.org/officeDocument/2006/relationships/slide" Target="slides/slide202.xml"/><Relationship Id="rId248" Type="http://schemas.openxmlformats.org/officeDocument/2006/relationships/slide" Target="slides/slide244.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357" Type="http://schemas.openxmlformats.org/officeDocument/2006/relationships/slide" Target="slides/slide353.xml"/><Relationship Id="rId54" Type="http://schemas.openxmlformats.org/officeDocument/2006/relationships/slide" Target="slides/slide50.xml"/><Relationship Id="rId96" Type="http://schemas.openxmlformats.org/officeDocument/2006/relationships/slide" Target="slides/slide92.xml"/><Relationship Id="rId161" Type="http://schemas.openxmlformats.org/officeDocument/2006/relationships/slide" Target="slides/slide157.xml"/><Relationship Id="rId217" Type="http://schemas.openxmlformats.org/officeDocument/2006/relationships/slide" Target="slides/slide213.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326" Type="http://schemas.openxmlformats.org/officeDocument/2006/relationships/slide" Target="slides/slide322.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172" Type="http://schemas.openxmlformats.org/officeDocument/2006/relationships/slide" Target="slides/slide168.xml"/><Relationship Id="rId228" Type="http://schemas.openxmlformats.org/officeDocument/2006/relationships/slide" Target="slides/slide224.xml"/><Relationship Id="rId281" Type="http://schemas.openxmlformats.org/officeDocument/2006/relationships/slide" Target="slides/slide277.xml"/><Relationship Id="rId337" Type="http://schemas.openxmlformats.org/officeDocument/2006/relationships/slide" Target="slides/slide333.xml"/><Relationship Id="rId34" Type="http://schemas.openxmlformats.org/officeDocument/2006/relationships/slide" Target="slides/slide30.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notesMaster" Target="notesMasters/notesMaster1.xml"/><Relationship Id="rId7" Type="http://schemas.openxmlformats.org/officeDocument/2006/relationships/slide" Target="slides/slide3.xml"/><Relationship Id="rId183" Type="http://schemas.openxmlformats.org/officeDocument/2006/relationships/slide" Target="slides/slide179.xml"/><Relationship Id="rId239" Type="http://schemas.openxmlformats.org/officeDocument/2006/relationships/slide" Target="slides/slide235.xml"/><Relationship Id="rId250" Type="http://schemas.openxmlformats.org/officeDocument/2006/relationships/slide" Target="slides/slide246.xml"/><Relationship Id="rId292" Type="http://schemas.openxmlformats.org/officeDocument/2006/relationships/slide" Target="slides/slide288.xml"/><Relationship Id="rId306" Type="http://schemas.openxmlformats.org/officeDocument/2006/relationships/slide" Target="slides/slide302.xml"/><Relationship Id="rId45" Type="http://schemas.openxmlformats.org/officeDocument/2006/relationships/slide" Target="slides/slide41.xml"/><Relationship Id="rId87" Type="http://schemas.openxmlformats.org/officeDocument/2006/relationships/slide" Target="slides/slide83.xml"/><Relationship Id="rId110" Type="http://schemas.openxmlformats.org/officeDocument/2006/relationships/slide" Target="slides/slide106.xml"/><Relationship Id="rId348" Type="http://schemas.openxmlformats.org/officeDocument/2006/relationships/slide" Target="slides/slide344.xml"/><Relationship Id="rId152" Type="http://schemas.openxmlformats.org/officeDocument/2006/relationships/slide" Target="slides/slide148.xml"/><Relationship Id="rId194" Type="http://schemas.openxmlformats.org/officeDocument/2006/relationships/slide" Target="slides/slide190.xml"/><Relationship Id="rId208" Type="http://schemas.openxmlformats.org/officeDocument/2006/relationships/slide" Target="slides/slide204.xml"/><Relationship Id="rId261" Type="http://schemas.openxmlformats.org/officeDocument/2006/relationships/slide" Target="slides/slide257.xml"/><Relationship Id="rId14" Type="http://schemas.openxmlformats.org/officeDocument/2006/relationships/slide" Target="slides/slide10.xml"/><Relationship Id="rId56" Type="http://schemas.openxmlformats.org/officeDocument/2006/relationships/slide" Target="slides/slide52.xml"/><Relationship Id="rId317" Type="http://schemas.openxmlformats.org/officeDocument/2006/relationships/slide" Target="slides/slide313.xml"/><Relationship Id="rId359" Type="http://schemas.openxmlformats.org/officeDocument/2006/relationships/slide" Target="slides/slide355.xml"/><Relationship Id="rId98" Type="http://schemas.openxmlformats.org/officeDocument/2006/relationships/slide" Target="slides/slide94.xml"/><Relationship Id="rId121" Type="http://schemas.openxmlformats.org/officeDocument/2006/relationships/slide" Target="slides/slide117.xml"/><Relationship Id="rId163" Type="http://schemas.openxmlformats.org/officeDocument/2006/relationships/slide" Target="slides/slide159.xml"/><Relationship Id="rId219" Type="http://schemas.openxmlformats.org/officeDocument/2006/relationships/slide" Target="slides/slide215.xml"/><Relationship Id="rId370" Type="http://schemas.openxmlformats.org/officeDocument/2006/relationships/slide" Target="slides/slide366.xml"/><Relationship Id="rId230" Type="http://schemas.openxmlformats.org/officeDocument/2006/relationships/slide" Target="slides/slide226.xml"/><Relationship Id="rId25" Type="http://schemas.openxmlformats.org/officeDocument/2006/relationships/slide" Target="slides/slide21.xml"/><Relationship Id="rId67" Type="http://schemas.openxmlformats.org/officeDocument/2006/relationships/slide" Target="slides/slide63.xml"/><Relationship Id="rId272" Type="http://schemas.openxmlformats.org/officeDocument/2006/relationships/slide" Target="slides/slide268.xml"/><Relationship Id="rId328" Type="http://schemas.openxmlformats.org/officeDocument/2006/relationships/slide" Target="slides/slide324.xml"/><Relationship Id="rId132" Type="http://schemas.openxmlformats.org/officeDocument/2006/relationships/slide" Target="slides/slide128.xml"/><Relationship Id="rId174" Type="http://schemas.openxmlformats.org/officeDocument/2006/relationships/slide" Target="slides/slide170.xml"/><Relationship Id="rId381" Type="http://schemas.openxmlformats.org/officeDocument/2006/relationships/viewProps" Target="viewProps.xml"/><Relationship Id="rId241" Type="http://schemas.openxmlformats.org/officeDocument/2006/relationships/slide" Target="slides/slide237.xml"/><Relationship Id="rId36" Type="http://schemas.openxmlformats.org/officeDocument/2006/relationships/slide" Target="slides/slide32.xml"/><Relationship Id="rId283" Type="http://schemas.openxmlformats.org/officeDocument/2006/relationships/slide" Target="slides/slide279.xml"/><Relationship Id="rId339" Type="http://schemas.openxmlformats.org/officeDocument/2006/relationships/slide" Target="slides/slide335.xml"/><Relationship Id="rId78" Type="http://schemas.openxmlformats.org/officeDocument/2006/relationships/slide" Target="slides/slide74.xml"/><Relationship Id="rId101" Type="http://schemas.openxmlformats.org/officeDocument/2006/relationships/slide" Target="slides/slide97.xml"/><Relationship Id="rId143" Type="http://schemas.openxmlformats.org/officeDocument/2006/relationships/slide" Target="slides/slide139.xml"/><Relationship Id="rId185" Type="http://schemas.openxmlformats.org/officeDocument/2006/relationships/slide" Target="slides/slide181.xml"/><Relationship Id="rId350" Type="http://schemas.openxmlformats.org/officeDocument/2006/relationships/slide" Target="slides/slide346.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273" Type="http://schemas.openxmlformats.org/officeDocument/2006/relationships/slide" Target="slides/slide269.xml"/><Relationship Id="rId294" Type="http://schemas.openxmlformats.org/officeDocument/2006/relationships/slide" Target="slides/slide290.xml"/><Relationship Id="rId308" Type="http://schemas.openxmlformats.org/officeDocument/2006/relationships/slide" Target="slides/slide304.xml"/><Relationship Id="rId329" Type="http://schemas.openxmlformats.org/officeDocument/2006/relationships/slide" Target="slides/slide325.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340" Type="http://schemas.openxmlformats.org/officeDocument/2006/relationships/slide" Target="slides/slide336.xml"/><Relationship Id="rId361" Type="http://schemas.openxmlformats.org/officeDocument/2006/relationships/slide" Target="slides/slide357.xml"/><Relationship Id="rId196" Type="http://schemas.openxmlformats.org/officeDocument/2006/relationships/slide" Target="slides/slide192.xml"/><Relationship Id="rId200" Type="http://schemas.openxmlformats.org/officeDocument/2006/relationships/slide" Target="slides/slide196.xml"/><Relationship Id="rId382" Type="http://schemas.openxmlformats.org/officeDocument/2006/relationships/theme" Target="theme/theme1.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263" Type="http://schemas.openxmlformats.org/officeDocument/2006/relationships/slide" Target="slides/slide259.xml"/><Relationship Id="rId284" Type="http://schemas.openxmlformats.org/officeDocument/2006/relationships/slide" Target="slides/slide280.xml"/><Relationship Id="rId319" Type="http://schemas.openxmlformats.org/officeDocument/2006/relationships/slide" Target="slides/slide315.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330" Type="http://schemas.openxmlformats.org/officeDocument/2006/relationships/slide" Target="slides/slide326.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351" Type="http://schemas.openxmlformats.org/officeDocument/2006/relationships/slide" Target="slides/slide347.xml"/><Relationship Id="rId372" Type="http://schemas.openxmlformats.org/officeDocument/2006/relationships/slide" Target="slides/slide368.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4" Type="http://schemas.openxmlformats.org/officeDocument/2006/relationships/slide" Target="slides/slide270.xml"/><Relationship Id="rId295" Type="http://schemas.openxmlformats.org/officeDocument/2006/relationships/slide" Target="slides/slide291.xml"/><Relationship Id="rId309" Type="http://schemas.openxmlformats.org/officeDocument/2006/relationships/slide" Target="slides/slide305.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320" Type="http://schemas.openxmlformats.org/officeDocument/2006/relationships/slide" Target="slides/slide316.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341" Type="http://schemas.openxmlformats.org/officeDocument/2006/relationships/slide" Target="slides/slide337.xml"/><Relationship Id="rId362" Type="http://schemas.openxmlformats.org/officeDocument/2006/relationships/slide" Target="slides/slide358.xml"/><Relationship Id="rId383" Type="http://schemas.openxmlformats.org/officeDocument/2006/relationships/tableStyles" Target="tableStyles.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slide" Target="slides/slide260.xml"/><Relationship Id="rId285" Type="http://schemas.openxmlformats.org/officeDocument/2006/relationships/slide" Target="slides/slide28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310" Type="http://schemas.openxmlformats.org/officeDocument/2006/relationships/slide" Target="slides/slide306.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331" Type="http://schemas.openxmlformats.org/officeDocument/2006/relationships/slide" Target="slides/slide327.xml"/><Relationship Id="rId352" Type="http://schemas.openxmlformats.org/officeDocument/2006/relationships/slide" Target="slides/slide348.xml"/><Relationship Id="rId373" Type="http://schemas.openxmlformats.org/officeDocument/2006/relationships/slide" Target="slides/slide369.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275" Type="http://schemas.openxmlformats.org/officeDocument/2006/relationships/slide" Target="slides/slide271.xml"/><Relationship Id="rId296" Type="http://schemas.openxmlformats.org/officeDocument/2006/relationships/slide" Target="slides/slide292.xml"/><Relationship Id="rId300" Type="http://schemas.openxmlformats.org/officeDocument/2006/relationships/slide" Target="slides/slide296.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321" Type="http://schemas.openxmlformats.org/officeDocument/2006/relationships/slide" Target="slides/slide317.xml"/><Relationship Id="rId342" Type="http://schemas.openxmlformats.org/officeDocument/2006/relationships/slide" Target="slides/slide338.xml"/><Relationship Id="rId363" Type="http://schemas.openxmlformats.org/officeDocument/2006/relationships/slide" Target="slides/slide359.xml"/><Relationship Id="rId384" Type="http://schemas.microsoft.com/office/2015/10/relationships/revisionInfo" Target="revisionInfo.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openxmlformats.org/officeDocument/2006/relationships/slide" Target="slides/slide261.xml"/><Relationship Id="rId286" Type="http://schemas.openxmlformats.org/officeDocument/2006/relationships/slide" Target="slides/slide282.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311" Type="http://schemas.openxmlformats.org/officeDocument/2006/relationships/slide" Target="slides/slide307.xml"/><Relationship Id="rId332" Type="http://schemas.openxmlformats.org/officeDocument/2006/relationships/slide" Target="slides/slide328.xml"/><Relationship Id="rId353" Type="http://schemas.openxmlformats.org/officeDocument/2006/relationships/slide" Target="slides/slide349.xml"/><Relationship Id="rId374" Type="http://schemas.openxmlformats.org/officeDocument/2006/relationships/slide" Target="slides/slide370.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55" Type="http://schemas.openxmlformats.org/officeDocument/2006/relationships/slide" Target="slides/slide251.xml"/><Relationship Id="rId276" Type="http://schemas.openxmlformats.org/officeDocument/2006/relationships/slide" Target="slides/slide272.xml"/><Relationship Id="rId297" Type="http://schemas.openxmlformats.org/officeDocument/2006/relationships/slide" Target="slides/slide293.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301" Type="http://schemas.openxmlformats.org/officeDocument/2006/relationships/slide" Target="slides/slide297.xml"/><Relationship Id="rId322" Type="http://schemas.openxmlformats.org/officeDocument/2006/relationships/slide" Target="slides/slide318.xml"/><Relationship Id="rId343" Type="http://schemas.openxmlformats.org/officeDocument/2006/relationships/slide" Target="slides/slide339.xml"/><Relationship Id="rId364" Type="http://schemas.openxmlformats.org/officeDocument/2006/relationships/slide" Target="slides/slide360.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287" Type="http://schemas.openxmlformats.org/officeDocument/2006/relationships/slide" Target="slides/slide283.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312" Type="http://schemas.openxmlformats.org/officeDocument/2006/relationships/slide" Target="slides/slide308.xml"/><Relationship Id="rId333" Type="http://schemas.openxmlformats.org/officeDocument/2006/relationships/slide" Target="slides/slide329.xml"/><Relationship Id="rId354" Type="http://schemas.openxmlformats.org/officeDocument/2006/relationships/slide" Target="slides/slide350.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75" Type="http://schemas.openxmlformats.org/officeDocument/2006/relationships/slide" Target="slides/slide371.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slide" Target="slides/slide273.xml"/><Relationship Id="rId298" Type="http://schemas.openxmlformats.org/officeDocument/2006/relationships/slide" Target="slides/slide294.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302" Type="http://schemas.openxmlformats.org/officeDocument/2006/relationships/slide" Target="slides/slide298.xml"/><Relationship Id="rId323" Type="http://schemas.openxmlformats.org/officeDocument/2006/relationships/slide" Target="slides/slide319.xml"/><Relationship Id="rId344" Type="http://schemas.openxmlformats.org/officeDocument/2006/relationships/slide" Target="slides/slide340.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365" Type="http://schemas.openxmlformats.org/officeDocument/2006/relationships/slide" Target="slides/slide361.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288" Type="http://schemas.openxmlformats.org/officeDocument/2006/relationships/slide" Target="slides/slide284.xml"/><Relationship Id="rId106" Type="http://schemas.openxmlformats.org/officeDocument/2006/relationships/slide" Target="slides/slide102.xml"/><Relationship Id="rId127" Type="http://schemas.openxmlformats.org/officeDocument/2006/relationships/slide" Target="slides/slide123.xml"/><Relationship Id="rId313" Type="http://schemas.openxmlformats.org/officeDocument/2006/relationships/slide" Target="slides/slide309.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334" Type="http://schemas.openxmlformats.org/officeDocument/2006/relationships/slide" Target="slides/slide330.xml"/><Relationship Id="rId355" Type="http://schemas.openxmlformats.org/officeDocument/2006/relationships/slide" Target="slides/slide351.xml"/><Relationship Id="rId376" Type="http://schemas.openxmlformats.org/officeDocument/2006/relationships/slide" Target="slides/slide372.xml"/><Relationship Id="rId4" Type="http://schemas.openxmlformats.org/officeDocument/2006/relationships/slideMaster" Target="slideMasters/slideMaster1.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slide" Target="slides/slide274.xml"/><Relationship Id="rId303" Type="http://schemas.openxmlformats.org/officeDocument/2006/relationships/slide" Target="slides/slide299.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345" Type="http://schemas.openxmlformats.org/officeDocument/2006/relationships/slide" Target="slides/slide341.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107" Type="http://schemas.openxmlformats.org/officeDocument/2006/relationships/slide" Target="slides/slide103.xml"/><Relationship Id="rId289" Type="http://schemas.openxmlformats.org/officeDocument/2006/relationships/slide" Target="slides/slide285.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356" Type="http://schemas.openxmlformats.org/officeDocument/2006/relationships/slide" Target="slides/slide352.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258" Type="http://schemas.openxmlformats.org/officeDocument/2006/relationships/slide" Target="slides/slide25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367" Type="http://schemas.openxmlformats.org/officeDocument/2006/relationships/slide" Target="slides/slide363.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336" Type="http://schemas.openxmlformats.org/officeDocument/2006/relationships/slide" Target="slides/slide332.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378" Type="http://schemas.openxmlformats.org/officeDocument/2006/relationships/slide" Target="slides/slide374.xml"/><Relationship Id="rId6" Type="http://schemas.openxmlformats.org/officeDocument/2006/relationships/slide" Target="slides/slide2.xml"/><Relationship Id="rId238" Type="http://schemas.openxmlformats.org/officeDocument/2006/relationships/slide" Target="slides/slide234.xml"/><Relationship Id="rId291" Type="http://schemas.openxmlformats.org/officeDocument/2006/relationships/slide" Target="slides/slide287.xml"/><Relationship Id="rId305" Type="http://schemas.openxmlformats.org/officeDocument/2006/relationships/slide" Target="slides/slide301.xml"/><Relationship Id="rId347" Type="http://schemas.openxmlformats.org/officeDocument/2006/relationships/slide" Target="slides/slide343.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358" Type="http://schemas.openxmlformats.org/officeDocument/2006/relationships/slide" Target="slides/slide354.xml"/><Relationship Id="rId162" Type="http://schemas.openxmlformats.org/officeDocument/2006/relationships/slide" Target="slides/slide158.xml"/><Relationship Id="rId218" Type="http://schemas.openxmlformats.org/officeDocument/2006/relationships/slide" Target="slides/slide214.xml"/><Relationship Id="rId271" Type="http://schemas.openxmlformats.org/officeDocument/2006/relationships/slide" Target="slides/slide267.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presProps" Target="presProps.xml"/><Relationship Id="rId240" Type="http://schemas.openxmlformats.org/officeDocument/2006/relationships/slide" Target="slides/slide236.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251" Type="http://schemas.openxmlformats.org/officeDocument/2006/relationships/slide" Target="slides/slide247.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220" Type="http://schemas.openxmlformats.org/officeDocument/2006/relationships/slide" Target="slides/slide216.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3" Type="http://schemas.openxmlformats.org/officeDocument/2006/relationships/package" Target="../embeddings/Microsoft_Excel_Worksheet355.xlsx"/><Relationship Id="rId2" Type="http://schemas.microsoft.com/office/2011/relationships/chartColorStyle" Target="colors1.xml"/><Relationship Id="rId1" Type="http://schemas.microsoft.com/office/2011/relationships/chartStyle" Target="style1.xml"/></Relationships>
</file>

<file path=ppt/charts/_rels/chart357.xml.rels><?xml version="1.0" encoding="UTF-8" standalone="yes"?>
<Relationships xmlns="http://schemas.openxmlformats.org/package/2006/relationships"><Relationship Id="rId3" Type="http://schemas.openxmlformats.org/officeDocument/2006/relationships/package" Target="../embeddings/Microsoft_Excel_Worksheet356.xlsx"/><Relationship Id="rId2" Type="http://schemas.microsoft.com/office/2011/relationships/chartColorStyle" Target="colors2.xml"/><Relationship Id="rId1" Type="http://schemas.microsoft.com/office/2011/relationships/chartStyle" Target="style2.xml"/></Relationships>
</file>

<file path=ppt/charts/_rels/chart358.xml.rels><?xml version="1.0" encoding="UTF-8" standalone="yes"?>
<Relationships xmlns="http://schemas.openxmlformats.org/package/2006/relationships"><Relationship Id="rId3" Type="http://schemas.openxmlformats.org/officeDocument/2006/relationships/package" Target="../embeddings/Microsoft_Excel_Worksheet357.xlsx"/><Relationship Id="rId2" Type="http://schemas.microsoft.com/office/2011/relationships/chartColorStyle" Target="colors3.xml"/><Relationship Id="rId1" Type="http://schemas.microsoft.com/office/2011/relationships/chartStyle" Target="style3.xml"/></Relationships>
</file>

<file path=ppt/charts/_rels/chart359.xml.rels><?xml version="1.0" encoding="UTF-8" standalone="yes"?>
<Relationships xmlns="http://schemas.openxmlformats.org/package/2006/relationships"><Relationship Id="rId3" Type="http://schemas.openxmlformats.org/officeDocument/2006/relationships/package" Target="../embeddings/Microsoft_Excel_Worksheet358.xlsx"/><Relationship Id="rId2" Type="http://schemas.microsoft.com/office/2011/relationships/chartColorStyle" Target="colors4.xml"/><Relationship Id="rId1" Type="http://schemas.microsoft.com/office/2011/relationships/chartStyle" Target="style4.xml"/></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3" Type="http://schemas.openxmlformats.org/officeDocument/2006/relationships/package" Target="../embeddings/Microsoft_Excel_Worksheet359.xlsx"/><Relationship Id="rId2" Type="http://schemas.microsoft.com/office/2011/relationships/chartColorStyle" Target="colors5.xml"/><Relationship Id="rId1" Type="http://schemas.microsoft.com/office/2011/relationships/chartStyle" Target="style5.xml"/></Relationships>
</file>

<file path=ppt/charts/_rels/chart361.xml.rels><?xml version="1.0" encoding="UTF-8" standalone="yes"?>
<Relationships xmlns="http://schemas.openxmlformats.org/package/2006/relationships"><Relationship Id="rId3" Type="http://schemas.openxmlformats.org/officeDocument/2006/relationships/package" Target="../embeddings/Microsoft_Excel_Worksheet360.xlsx"/><Relationship Id="rId2" Type="http://schemas.microsoft.com/office/2011/relationships/chartColorStyle" Target="colors6.xml"/><Relationship Id="rId1" Type="http://schemas.microsoft.com/office/2011/relationships/chartStyle" Target="style6.xml"/></Relationships>
</file>

<file path=ppt/charts/_rels/chart362.xml.rels><?xml version="1.0" encoding="UTF-8" standalone="yes"?>
<Relationships xmlns="http://schemas.openxmlformats.org/package/2006/relationships"><Relationship Id="rId3" Type="http://schemas.openxmlformats.org/officeDocument/2006/relationships/package" Target="../embeddings/Microsoft_Excel_Worksheet361.xlsx"/><Relationship Id="rId2" Type="http://schemas.microsoft.com/office/2011/relationships/chartColorStyle" Target="colors7.xml"/><Relationship Id="rId1" Type="http://schemas.microsoft.com/office/2011/relationships/chartStyle" Target="style7.xml"/></Relationships>
</file>

<file path=ppt/charts/_rels/chart363.xml.rels><?xml version="1.0" encoding="UTF-8" standalone="yes"?>
<Relationships xmlns="http://schemas.openxmlformats.org/package/2006/relationships"><Relationship Id="rId3" Type="http://schemas.openxmlformats.org/officeDocument/2006/relationships/package" Target="../embeddings/Microsoft_Excel_Worksheet362.xlsx"/><Relationship Id="rId2" Type="http://schemas.microsoft.com/office/2011/relationships/chartColorStyle" Target="colors8.xml"/><Relationship Id="rId1" Type="http://schemas.microsoft.com/office/2011/relationships/chartStyle" Target="style8.xml"/></Relationships>
</file>

<file path=ppt/charts/_rels/chart364.xml.rels><?xml version="1.0" encoding="UTF-8" standalone="yes"?>
<Relationships xmlns="http://schemas.openxmlformats.org/package/2006/relationships"><Relationship Id="rId3" Type="http://schemas.openxmlformats.org/officeDocument/2006/relationships/package" Target="../embeddings/Microsoft_Excel_Worksheet363.xlsx"/><Relationship Id="rId2" Type="http://schemas.microsoft.com/office/2011/relationships/chartColorStyle" Target="colors9.xml"/><Relationship Id="rId1" Type="http://schemas.microsoft.com/office/2011/relationships/chartStyle" Target="style9.xml"/></Relationships>
</file>

<file path=ppt/charts/_rels/chart365.xml.rels><?xml version="1.0" encoding="UTF-8" standalone="yes"?>
<Relationships xmlns="http://schemas.openxmlformats.org/package/2006/relationships"><Relationship Id="rId3" Type="http://schemas.openxmlformats.org/officeDocument/2006/relationships/package" Target="../embeddings/Microsoft_Excel_Worksheet364.xlsx"/><Relationship Id="rId2" Type="http://schemas.microsoft.com/office/2011/relationships/chartColorStyle" Target="colors10.xml"/><Relationship Id="rId1" Type="http://schemas.microsoft.com/office/2011/relationships/chartStyle" Target="style10.xml"/></Relationships>
</file>

<file path=ppt/charts/_rels/chart366.xml.rels><?xml version="1.0" encoding="UTF-8" standalone="yes"?>
<Relationships xmlns="http://schemas.openxmlformats.org/package/2006/relationships"><Relationship Id="rId3" Type="http://schemas.openxmlformats.org/officeDocument/2006/relationships/package" Target="../embeddings/Microsoft_Excel_Worksheet365.xlsx"/><Relationship Id="rId2" Type="http://schemas.microsoft.com/office/2011/relationships/chartColorStyle" Target="colors11.xml"/><Relationship Id="rId1" Type="http://schemas.microsoft.com/office/2011/relationships/chartStyle" Target="style11.xml"/></Relationships>
</file>

<file path=ppt/charts/_rels/chart367.xml.rels><?xml version="1.0" encoding="UTF-8" standalone="yes"?>
<Relationships xmlns="http://schemas.openxmlformats.org/package/2006/relationships"><Relationship Id="rId3" Type="http://schemas.openxmlformats.org/officeDocument/2006/relationships/package" Target="../embeddings/Microsoft_Excel_Worksheet366.xlsx"/><Relationship Id="rId2" Type="http://schemas.microsoft.com/office/2011/relationships/chartColorStyle" Target="colors12.xml"/><Relationship Id="rId1" Type="http://schemas.microsoft.com/office/2011/relationships/chartStyle" Target="style12.xml"/></Relationships>
</file>

<file path=ppt/charts/_rels/chart368.xml.rels><?xml version="1.0" encoding="UTF-8" standalone="yes"?>
<Relationships xmlns="http://schemas.openxmlformats.org/package/2006/relationships"><Relationship Id="rId3" Type="http://schemas.openxmlformats.org/officeDocument/2006/relationships/package" Target="../embeddings/Microsoft_Excel_Worksheet367.xlsx"/><Relationship Id="rId2" Type="http://schemas.microsoft.com/office/2011/relationships/chartColorStyle" Target="colors13.xml"/><Relationship Id="rId1" Type="http://schemas.microsoft.com/office/2011/relationships/chartStyle" Target="style13.xml"/></Relationships>
</file>

<file path=ppt/charts/_rels/chart369.xml.rels><?xml version="1.0" encoding="UTF-8" standalone="yes"?>
<Relationships xmlns="http://schemas.openxmlformats.org/package/2006/relationships"><Relationship Id="rId3" Type="http://schemas.openxmlformats.org/officeDocument/2006/relationships/package" Target="../embeddings/Microsoft_Excel_Worksheet368.xlsx"/><Relationship Id="rId2" Type="http://schemas.microsoft.com/office/2011/relationships/chartColorStyle" Target="colors14.xml"/><Relationship Id="rId1" Type="http://schemas.microsoft.com/office/2011/relationships/chartStyle" Target="style14.xml"/></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3" Type="http://schemas.openxmlformats.org/officeDocument/2006/relationships/package" Target="../embeddings/Microsoft_Excel_Worksheet369.xlsx"/><Relationship Id="rId2" Type="http://schemas.microsoft.com/office/2011/relationships/chartColorStyle" Target="colors15.xml"/><Relationship Id="rId1" Type="http://schemas.microsoft.com/office/2011/relationships/chartStyle" Target="style15.xml"/></Relationships>
</file>

<file path=ppt/charts/_rels/chart371.xml.rels><?xml version="1.0" encoding="UTF-8" standalone="yes"?>
<Relationships xmlns="http://schemas.openxmlformats.org/package/2006/relationships"><Relationship Id="rId3" Type="http://schemas.openxmlformats.org/officeDocument/2006/relationships/package" Target="../embeddings/Microsoft_Excel_Worksheet370.xlsx"/><Relationship Id="rId2" Type="http://schemas.microsoft.com/office/2011/relationships/chartColorStyle" Target="colors16.xml"/><Relationship Id="rId1" Type="http://schemas.microsoft.com/office/2011/relationships/chartStyle" Target="style16.xml"/></Relationships>
</file>

<file path=ppt/charts/_rels/chart372.xml.rels><?xml version="1.0" encoding="UTF-8" standalone="yes"?>
<Relationships xmlns="http://schemas.openxmlformats.org/package/2006/relationships"><Relationship Id="rId3" Type="http://schemas.openxmlformats.org/officeDocument/2006/relationships/package" Target="../embeddings/Microsoft_Excel_Worksheet371.xlsx"/><Relationship Id="rId2" Type="http://schemas.microsoft.com/office/2011/relationships/chartColorStyle" Target="colors17.xml"/><Relationship Id="rId1" Type="http://schemas.microsoft.com/office/2011/relationships/chartStyle" Target="style17.xml"/></Relationships>
</file>

<file path=ppt/charts/_rels/chart373.xml.rels><?xml version="1.0" encoding="UTF-8" standalone="yes"?>
<Relationships xmlns="http://schemas.openxmlformats.org/package/2006/relationships"><Relationship Id="rId3" Type="http://schemas.openxmlformats.org/officeDocument/2006/relationships/package" Target="../embeddings/Microsoft_Excel_Worksheet372.xlsx"/><Relationship Id="rId2" Type="http://schemas.microsoft.com/office/2011/relationships/chartColorStyle" Target="colors18.xml"/><Relationship Id="rId1" Type="http://schemas.microsoft.com/office/2011/relationships/chartStyle" Target="style18.xml"/></Relationships>
</file>

<file path=ppt/charts/_rels/chart374.xml.rels><?xml version="1.0" encoding="UTF-8" standalone="yes"?>
<Relationships xmlns="http://schemas.openxmlformats.org/package/2006/relationships"><Relationship Id="rId3" Type="http://schemas.openxmlformats.org/officeDocument/2006/relationships/package" Target="../embeddings/Microsoft_Excel_Worksheet373.xlsx"/><Relationship Id="rId2" Type="http://schemas.microsoft.com/office/2011/relationships/chartColorStyle" Target="colors19.xml"/><Relationship Id="rId1" Type="http://schemas.microsoft.com/office/2011/relationships/chartStyle" Target="style19.xml"/></Relationships>
</file>

<file path=ppt/charts/_rels/chart375.xml.rels><?xml version="1.0" encoding="UTF-8" standalone="yes"?>
<Relationships xmlns="http://schemas.openxmlformats.org/package/2006/relationships"><Relationship Id="rId3" Type="http://schemas.openxmlformats.org/officeDocument/2006/relationships/package" Target="../embeddings/Microsoft_Excel_Worksheet374.xlsx"/><Relationship Id="rId2" Type="http://schemas.microsoft.com/office/2011/relationships/chartColorStyle" Target="colors20.xml"/><Relationship Id="rId1" Type="http://schemas.microsoft.com/office/2011/relationships/chartStyle" Target="style20.xml"/></Relationships>
</file>

<file path=ppt/charts/_rels/chart376.xml.rels><?xml version="1.0" encoding="UTF-8" standalone="yes"?>
<Relationships xmlns="http://schemas.openxmlformats.org/package/2006/relationships"><Relationship Id="rId3" Type="http://schemas.openxmlformats.org/officeDocument/2006/relationships/package" Target="../embeddings/Microsoft_Excel_Worksheet375.xlsx"/><Relationship Id="rId2" Type="http://schemas.microsoft.com/office/2011/relationships/chartColorStyle" Target="colors21.xml"/><Relationship Id="rId1" Type="http://schemas.microsoft.com/office/2011/relationships/chartStyle" Target="style21.xml"/></Relationships>
</file>

<file path=ppt/charts/_rels/chart377.xml.rels><?xml version="1.0" encoding="UTF-8" standalone="yes"?>
<Relationships xmlns="http://schemas.openxmlformats.org/package/2006/relationships"><Relationship Id="rId3" Type="http://schemas.openxmlformats.org/officeDocument/2006/relationships/package" Target="../embeddings/Microsoft_Excel_Worksheet376.xlsx"/><Relationship Id="rId2" Type="http://schemas.microsoft.com/office/2011/relationships/chartColorStyle" Target="colors22.xml"/><Relationship Id="rId1" Type="http://schemas.microsoft.com/office/2011/relationships/chartStyle" Target="style22.xml"/></Relationships>
</file>

<file path=ppt/charts/_rels/chart378.xml.rels><?xml version="1.0" encoding="UTF-8" standalone="yes"?>
<Relationships xmlns="http://schemas.openxmlformats.org/package/2006/relationships"><Relationship Id="rId3" Type="http://schemas.openxmlformats.org/officeDocument/2006/relationships/package" Target="../embeddings/Microsoft_Excel_Worksheet377.xlsx"/><Relationship Id="rId2" Type="http://schemas.microsoft.com/office/2011/relationships/chartColorStyle" Target="colors23.xml"/><Relationship Id="rId1" Type="http://schemas.microsoft.com/office/2011/relationships/chartStyle" Target="style23.xml"/></Relationships>
</file>

<file path=ppt/charts/_rels/chart379.xml.rels><?xml version="1.0" encoding="UTF-8" standalone="yes"?>
<Relationships xmlns="http://schemas.openxmlformats.org/package/2006/relationships"><Relationship Id="rId3" Type="http://schemas.openxmlformats.org/officeDocument/2006/relationships/package" Target="../embeddings/Microsoft_Excel_Worksheet378.xlsx"/><Relationship Id="rId2" Type="http://schemas.microsoft.com/office/2011/relationships/chartColorStyle" Target="colors24.xml"/><Relationship Id="rId1" Type="http://schemas.microsoft.com/office/2011/relationships/chartStyle" Target="style24.xml"/></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3" Type="http://schemas.openxmlformats.org/officeDocument/2006/relationships/package" Target="../embeddings/Microsoft_Excel_Worksheet379.xlsx"/><Relationship Id="rId2" Type="http://schemas.microsoft.com/office/2011/relationships/chartColorStyle" Target="colors25.xml"/><Relationship Id="rId1" Type="http://schemas.microsoft.com/office/2011/relationships/chartStyle" Target="style25.xml"/></Relationships>
</file>

<file path=ppt/charts/_rels/chart381.xml.rels><?xml version="1.0" encoding="UTF-8" standalone="yes"?>
<Relationships xmlns="http://schemas.openxmlformats.org/package/2006/relationships"><Relationship Id="rId3" Type="http://schemas.openxmlformats.org/officeDocument/2006/relationships/package" Target="../embeddings/Microsoft_Excel_Worksheet380.xlsx"/><Relationship Id="rId2" Type="http://schemas.microsoft.com/office/2011/relationships/chartColorStyle" Target="colors26.xml"/><Relationship Id="rId1" Type="http://schemas.microsoft.com/office/2011/relationships/chartStyle" Target="style26.xml"/></Relationships>
</file>

<file path=ppt/charts/_rels/chart382.xml.rels><?xml version="1.0" encoding="UTF-8" standalone="yes"?>
<Relationships xmlns="http://schemas.openxmlformats.org/package/2006/relationships"><Relationship Id="rId3" Type="http://schemas.openxmlformats.org/officeDocument/2006/relationships/package" Target="../embeddings/Microsoft_Excel_Worksheet381.xlsx"/><Relationship Id="rId2" Type="http://schemas.microsoft.com/office/2011/relationships/chartColorStyle" Target="colors27.xml"/><Relationship Id="rId1" Type="http://schemas.microsoft.com/office/2011/relationships/chartStyle" Target="style27.xml"/></Relationships>
</file>

<file path=ppt/charts/_rels/chart383.xml.rels><?xml version="1.0" encoding="UTF-8" standalone="yes"?>
<Relationships xmlns="http://schemas.openxmlformats.org/package/2006/relationships"><Relationship Id="rId3" Type="http://schemas.openxmlformats.org/officeDocument/2006/relationships/package" Target="../embeddings/Microsoft_Excel_Worksheet382.xlsx"/><Relationship Id="rId2" Type="http://schemas.microsoft.com/office/2011/relationships/chartColorStyle" Target="colors28.xml"/><Relationship Id="rId1" Type="http://schemas.microsoft.com/office/2011/relationships/chartStyle" Target="style28.xml"/></Relationships>
</file>

<file path=ppt/charts/_rels/chart384.xml.rels><?xml version="1.0" encoding="UTF-8" standalone="yes"?>
<Relationships xmlns="http://schemas.openxmlformats.org/package/2006/relationships"><Relationship Id="rId3" Type="http://schemas.openxmlformats.org/officeDocument/2006/relationships/package" Target="../embeddings/Microsoft_Excel_Worksheet383.xlsx"/><Relationship Id="rId2" Type="http://schemas.microsoft.com/office/2011/relationships/chartColorStyle" Target="colors29.xml"/><Relationship Id="rId1" Type="http://schemas.microsoft.com/office/2011/relationships/chartStyle" Target="style29.xml"/></Relationships>
</file>

<file path=ppt/charts/_rels/chart385.xml.rels><?xml version="1.0" encoding="UTF-8" standalone="yes"?>
<Relationships xmlns="http://schemas.openxmlformats.org/package/2006/relationships"><Relationship Id="rId3" Type="http://schemas.openxmlformats.org/officeDocument/2006/relationships/package" Target="../embeddings/Microsoft_Excel_Worksheet384.xlsx"/><Relationship Id="rId2" Type="http://schemas.microsoft.com/office/2011/relationships/chartColorStyle" Target="colors30.xml"/><Relationship Id="rId1" Type="http://schemas.microsoft.com/office/2011/relationships/chartStyle" Target="style30.xml"/></Relationships>
</file>

<file path=ppt/charts/_rels/chart386.xml.rels><?xml version="1.0" encoding="UTF-8" standalone="yes"?>
<Relationships xmlns="http://schemas.openxmlformats.org/package/2006/relationships"><Relationship Id="rId3" Type="http://schemas.openxmlformats.org/officeDocument/2006/relationships/package" Target="../embeddings/Microsoft_Excel_Worksheet385.xlsx"/><Relationship Id="rId2" Type="http://schemas.microsoft.com/office/2011/relationships/chartColorStyle" Target="colors31.xml"/><Relationship Id="rId1" Type="http://schemas.microsoft.com/office/2011/relationships/chartStyle" Target="style31.xml"/></Relationships>
</file>

<file path=ppt/charts/_rels/chart387.xml.rels><?xml version="1.0" encoding="UTF-8" standalone="yes"?>
<Relationships xmlns="http://schemas.openxmlformats.org/package/2006/relationships"><Relationship Id="rId3" Type="http://schemas.openxmlformats.org/officeDocument/2006/relationships/package" Target="../embeddings/Microsoft_Excel_Worksheet386.xlsx"/><Relationship Id="rId2" Type="http://schemas.microsoft.com/office/2011/relationships/chartColorStyle" Target="colors32.xml"/><Relationship Id="rId1" Type="http://schemas.microsoft.com/office/2011/relationships/chartStyle" Target="style32.xml"/></Relationships>
</file>

<file path=ppt/charts/_rels/chart388.xml.rels><?xml version="1.0" encoding="UTF-8" standalone="yes"?>
<Relationships xmlns="http://schemas.openxmlformats.org/package/2006/relationships"><Relationship Id="rId3" Type="http://schemas.openxmlformats.org/officeDocument/2006/relationships/package" Target="../embeddings/Microsoft_Excel_Worksheet387.xlsx"/><Relationship Id="rId2" Type="http://schemas.microsoft.com/office/2011/relationships/chartColorStyle" Target="colors33.xml"/><Relationship Id="rId1" Type="http://schemas.microsoft.com/office/2011/relationships/chartStyle" Target="style33.xml"/></Relationships>
</file>

<file path=ppt/charts/_rels/chart389.xml.rels><?xml version="1.0" encoding="UTF-8" standalone="yes"?>
<Relationships xmlns="http://schemas.openxmlformats.org/package/2006/relationships"><Relationship Id="rId3" Type="http://schemas.openxmlformats.org/officeDocument/2006/relationships/package" Target="../embeddings/Microsoft_Excel_Worksheet388.xlsx"/><Relationship Id="rId2" Type="http://schemas.microsoft.com/office/2011/relationships/chartColorStyle" Target="colors34.xml"/><Relationship Id="rId1" Type="http://schemas.microsoft.com/office/2011/relationships/chartStyle" Target="style34.xml"/></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3" Type="http://schemas.openxmlformats.org/officeDocument/2006/relationships/package" Target="../embeddings/Microsoft_Excel_Worksheet389.xlsx"/><Relationship Id="rId2" Type="http://schemas.microsoft.com/office/2011/relationships/chartColorStyle" Target="colors35.xml"/><Relationship Id="rId1" Type="http://schemas.microsoft.com/office/2011/relationships/chartStyle" Target="style35.xml"/></Relationships>
</file>

<file path=ppt/charts/_rels/chart391.xml.rels><?xml version="1.0" encoding="UTF-8" standalone="yes"?>
<Relationships xmlns="http://schemas.openxmlformats.org/package/2006/relationships"><Relationship Id="rId3" Type="http://schemas.openxmlformats.org/officeDocument/2006/relationships/package" Target="../embeddings/Microsoft_Excel_Worksheet390.xlsx"/><Relationship Id="rId2" Type="http://schemas.microsoft.com/office/2011/relationships/chartColorStyle" Target="colors36.xml"/><Relationship Id="rId1" Type="http://schemas.microsoft.com/office/2011/relationships/chartStyle" Target="style36.xml"/></Relationships>
</file>

<file path=ppt/charts/_rels/chart392.xml.rels><?xml version="1.0" encoding="UTF-8" standalone="yes"?>
<Relationships xmlns="http://schemas.openxmlformats.org/package/2006/relationships"><Relationship Id="rId3" Type="http://schemas.openxmlformats.org/officeDocument/2006/relationships/package" Target="../embeddings/Microsoft_Excel_Worksheet391.xlsx"/><Relationship Id="rId2" Type="http://schemas.microsoft.com/office/2011/relationships/chartColorStyle" Target="colors37.xml"/><Relationship Id="rId1" Type="http://schemas.microsoft.com/office/2011/relationships/chartStyle" Target="style37.xml"/></Relationships>
</file>

<file path=ppt/charts/_rels/chart393.xml.rels><?xml version="1.0" encoding="UTF-8" standalone="yes"?>
<Relationships xmlns="http://schemas.openxmlformats.org/package/2006/relationships"><Relationship Id="rId3" Type="http://schemas.openxmlformats.org/officeDocument/2006/relationships/package" Target="../embeddings/Microsoft_Excel_Worksheet392.xlsx"/><Relationship Id="rId2" Type="http://schemas.microsoft.com/office/2011/relationships/chartColorStyle" Target="colors38.xml"/><Relationship Id="rId1" Type="http://schemas.microsoft.com/office/2011/relationships/chartStyle" Target="style38.xml"/></Relationships>
</file>

<file path=ppt/charts/_rels/chart394.xml.rels><?xml version="1.0" encoding="UTF-8" standalone="yes"?>
<Relationships xmlns="http://schemas.openxmlformats.org/package/2006/relationships"><Relationship Id="rId3" Type="http://schemas.openxmlformats.org/officeDocument/2006/relationships/package" Target="../embeddings/Microsoft_Excel_Worksheet393.xlsx"/><Relationship Id="rId2" Type="http://schemas.microsoft.com/office/2011/relationships/chartColorStyle" Target="colors39.xml"/><Relationship Id="rId1" Type="http://schemas.microsoft.com/office/2011/relationships/chartStyle" Target="style39.xml"/></Relationships>
</file>

<file path=ppt/charts/_rels/chart395.xml.rels><?xml version="1.0" encoding="UTF-8" standalone="yes"?>
<Relationships xmlns="http://schemas.openxmlformats.org/package/2006/relationships"><Relationship Id="rId3" Type="http://schemas.openxmlformats.org/officeDocument/2006/relationships/package" Target="../embeddings/Microsoft_Excel_Worksheet394.xlsx"/><Relationship Id="rId2" Type="http://schemas.microsoft.com/office/2011/relationships/chartColorStyle" Target="colors40.xml"/><Relationship Id="rId1" Type="http://schemas.microsoft.com/office/2011/relationships/chartStyle" Target="style40.xml"/></Relationships>
</file>

<file path=ppt/charts/_rels/chart396.xml.rels><?xml version="1.0" encoding="UTF-8" standalone="yes"?>
<Relationships xmlns="http://schemas.openxmlformats.org/package/2006/relationships"><Relationship Id="rId3" Type="http://schemas.openxmlformats.org/officeDocument/2006/relationships/package" Target="../embeddings/Microsoft_Excel_Worksheet395.xlsx"/><Relationship Id="rId2" Type="http://schemas.microsoft.com/office/2011/relationships/chartColorStyle" Target="colors41.xml"/><Relationship Id="rId1" Type="http://schemas.microsoft.com/office/2011/relationships/chartStyle" Target="style41.xml"/></Relationships>
</file>

<file path=ppt/charts/_rels/chart397.xml.rels><?xml version="1.0" encoding="UTF-8" standalone="yes"?>
<Relationships xmlns="http://schemas.openxmlformats.org/package/2006/relationships"><Relationship Id="rId3" Type="http://schemas.openxmlformats.org/officeDocument/2006/relationships/package" Target="../embeddings/Microsoft_Excel_Worksheet396.xlsx"/><Relationship Id="rId2" Type="http://schemas.microsoft.com/office/2011/relationships/chartColorStyle" Target="colors42.xml"/><Relationship Id="rId1" Type="http://schemas.microsoft.com/office/2011/relationships/chartStyle" Target="style42.xml"/></Relationships>
</file>

<file path=ppt/charts/_rels/chart398.xml.rels><?xml version="1.0" encoding="UTF-8" standalone="yes"?>
<Relationships xmlns="http://schemas.openxmlformats.org/package/2006/relationships"><Relationship Id="rId3" Type="http://schemas.openxmlformats.org/officeDocument/2006/relationships/package" Target="../embeddings/Microsoft_Excel_Worksheet397.xlsx"/><Relationship Id="rId2" Type="http://schemas.microsoft.com/office/2011/relationships/chartColorStyle" Target="colors43.xml"/><Relationship Id="rId1" Type="http://schemas.microsoft.com/office/2011/relationships/chartStyle" Target="style43.xml"/></Relationships>
</file>

<file path=ppt/charts/_rels/chart399.xml.rels><?xml version="1.0" encoding="UTF-8" standalone="yes"?>
<Relationships xmlns="http://schemas.openxmlformats.org/package/2006/relationships"><Relationship Id="rId3" Type="http://schemas.openxmlformats.org/officeDocument/2006/relationships/package" Target="../embeddings/Microsoft_Excel_Worksheet398.xlsx"/><Relationship Id="rId2" Type="http://schemas.microsoft.com/office/2011/relationships/chartColorStyle" Target="colors44.xml"/><Relationship Id="rId1" Type="http://schemas.microsoft.com/office/2011/relationships/chartStyle" Target="style44.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3" Type="http://schemas.openxmlformats.org/officeDocument/2006/relationships/package" Target="../embeddings/Microsoft_Excel_Worksheet399.xlsx"/><Relationship Id="rId2" Type="http://schemas.microsoft.com/office/2011/relationships/chartColorStyle" Target="colors45.xml"/><Relationship Id="rId1" Type="http://schemas.microsoft.com/office/2011/relationships/chartStyle" Target="style45.xml"/></Relationships>
</file>

<file path=ppt/charts/_rels/chart401.xml.rels><?xml version="1.0" encoding="UTF-8" standalone="yes"?>
<Relationships xmlns="http://schemas.openxmlformats.org/package/2006/relationships"><Relationship Id="rId3" Type="http://schemas.openxmlformats.org/officeDocument/2006/relationships/package" Target="../embeddings/Microsoft_Excel_Worksheet400.xlsx"/><Relationship Id="rId2" Type="http://schemas.microsoft.com/office/2011/relationships/chartColorStyle" Target="colors46.xml"/><Relationship Id="rId1" Type="http://schemas.microsoft.com/office/2011/relationships/chartStyle" Target="style46.xml"/></Relationships>
</file>

<file path=ppt/charts/_rels/chart402.xml.rels><?xml version="1.0" encoding="UTF-8" standalone="yes"?>
<Relationships xmlns="http://schemas.openxmlformats.org/package/2006/relationships"><Relationship Id="rId3" Type="http://schemas.openxmlformats.org/officeDocument/2006/relationships/package" Target="../embeddings/Microsoft_Excel_Worksheet401.xlsx"/><Relationship Id="rId2" Type="http://schemas.microsoft.com/office/2011/relationships/chartColorStyle" Target="colors47.xml"/><Relationship Id="rId1" Type="http://schemas.microsoft.com/office/2011/relationships/chartStyle" Target="style47.xml"/></Relationships>
</file>

<file path=ppt/charts/_rels/chart403.xml.rels><?xml version="1.0" encoding="UTF-8" standalone="yes"?>
<Relationships xmlns="http://schemas.openxmlformats.org/package/2006/relationships"><Relationship Id="rId3" Type="http://schemas.openxmlformats.org/officeDocument/2006/relationships/package" Target="../embeddings/Microsoft_Excel_Worksheet402.xlsx"/><Relationship Id="rId2" Type="http://schemas.microsoft.com/office/2011/relationships/chartColorStyle" Target="colors48.xml"/><Relationship Id="rId1" Type="http://schemas.microsoft.com/office/2011/relationships/chartStyle" Target="style48.xml"/></Relationships>
</file>

<file path=ppt/charts/_rels/chart404.xml.rels><?xml version="1.0" encoding="UTF-8" standalone="yes"?>
<Relationships xmlns="http://schemas.openxmlformats.org/package/2006/relationships"><Relationship Id="rId3" Type="http://schemas.openxmlformats.org/officeDocument/2006/relationships/package" Target="../embeddings/Microsoft_Excel_Worksheet403.xlsx"/><Relationship Id="rId2" Type="http://schemas.microsoft.com/office/2011/relationships/chartColorStyle" Target="colors49.xml"/><Relationship Id="rId1" Type="http://schemas.microsoft.com/office/2011/relationships/chartStyle" Target="style49.xml"/></Relationships>
</file>

<file path=ppt/charts/_rels/chart405.xml.rels><?xml version="1.0" encoding="UTF-8" standalone="yes"?>
<Relationships xmlns="http://schemas.openxmlformats.org/package/2006/relationships"><Relationship Id="rId3" Type="http://schemas.openxmlformats.org/officeDocument/2006/relationships/package" Target="../embeddings/Microsoft_Excel_Worksheet404.xlsx"/><Relationship Id="rId2" Type="http://schemas.microsoft.com/office/2011/relationships/chartColorStyle" Target="colors50.xml"/><Relationship Id="rId1" Type="http://schemas.microsoft.com/office/2011/relationships/chartStyle" Target="style50.xml"/></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DC565BF-A093-498E-9770-A2E04F94D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24863A-A1D8-4F31-AEAA-D4B69629D1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DD4012F-C285-4FD4-9479-8F86D49499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34AE71B-F021-456B-B462-83FBEB804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4CC95B8-A59C-4015-B8DB-5EE749A5EB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1E7899D-72A5-4CA3-9A68-7BB8C2D8F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1732913-CCD6-472B-9F61-EF383C903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8B7B66-416B-4106-A3BE-25E371F62F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8.62180000000001</c:v>
                </c:pt>
                <c:pt idx="1">
                  <c:v>613.25300000000004</c:v>
                </c:pt>
                <c:pt idx="2">
                  <c:v>218.2782</c:v>
                </c:pt>
                <c:pt idx="3">
                  <c:v>581.07939999999996</c:v>
                </c:pt>
                <c:pt idx="4">
                  <c:v>212.268</c:v>
                </c:pt>
                <c:pt idx="5">
                  <c:v>649.51160000000004</c:v>
                </c:pt>
                <c:pt idx="6">
                  <c:v>668.8338</c:v>
                </c:pt>
                <c:pt idx="7">
                  <c:v>207.99539999999999</c:v>
                </c:pt>
              </c:numCache>
            </c:numRef>
          </c:xVal>
          <c:yVal>
            <c:numRef>
              <c:f>Sheet1!$B$2:$B$9</c:f>
              <c:numCache>
                <c:formatCode>General</c:formatCode>
                <c:ptCount val="8"/>
                <c:pt idx="0">
                  <c:v>0.73799999999999999</c:v>
                </c:pt>
                <c:pt idx="1">
                  <c:v>2.8860000000000001</c:v>
                </c:pt>
                <c:pt idx="2">
                  <c:v>0.504</c:v>
                </c:pt>
                <c:pt idx="3">
                  <c:v>4.532</c:v>
                </c:pt>
                <c:pt idx="4">
                  <c:v>0.49199999999999999</c:v>
                </c:pt>
                <c:pt idx="5">
                  <c:v>3.8679999999999999</c:v>
                </c:pt>
                <c:pt idx="6">
                  <c:v>3.4849999999999999</c:v>
                </c:pt>
                <c:pt idx="7">
                  <c:v>1.68</c:v>
                </c:pt>
              </c:numCache>
            </c:numRef>
          </c:yVal>
          <c:bubbleSize>
            <c:numRef>
              <c:f>Sheet1!$C$2:$C$9</c:f>
              <c:numCache>
                <c:formatCode>General</c:formatCode>
                <c:ptCount val="8"/>
                <c:pt idx="0">
                  <c:v>793024766</c:v>
                </c:pt>
                <c:pt idx="1">
                  <c:v>629447145</c:v>
                </c:pt>
                <c:pt idx="2">
                  <c:v>386902988</c:v>
                </c:pt>
                <c:pt idx="3">
                  <c:v>385073783</c:v>
                </c:pt>
                <c:pt idx="4">
                  <c:v>329391699</c:v>
                </c:pt>
                <c:pt idx="5">
                  <c:v>268650336</c:v>
                </c:pt>
                <c:pt idx="6">
                  <c:v>254179570</c:v>
                </c:pt>
                <c:pt idx="7">
                  <c:v>13146973</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La Roche-Posay</c:v>
                  </c:pt>
                  <c:pt idx="4">
                    <c:v>Banana Boat</c:v>
                  </c:pt>
                  <c:pt idx="5">
                    <c:v>Eucerin</c:v>
                  </c:pt>
                  <c:pt idx="6">
                    <c:v>Avene</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03"/>
          <c:min val="16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7796438-BA5F-4419-8251-6AAF10A67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6BA7316-6BAC-4B72-A0B8-77C5F411B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5BC55B-290E-435D-80E9-F86EDD2D0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29E25D8-9E7E-4C09-B6BB-DCF3208381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23BACF-DC42-48F3-B70E-837E5BAC67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EC6F9D1-728A-4379-9B2A-C290D025BD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FC18145-3776-4883-81DD-004BB3ED3B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7B0B8A4-3F20-46EB-B764-6FC98B1BF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31460000000001</c:v>
                </c:pt>
                <c:pt idx="1">
                  <c:v>209.0821</c:v>
                </c:pt>
                <c:pt idx="2">
                  <c:v>228.26419999999999</c:v>
                </c:pt>
                <c:pt idx="3">
                  <c:v>577.1653</c:v>
                </c:pt>
                <c:pt idx="4">
                  <c:v>291.35789999999997</c:v>
                </c:pt>
                <c:pt idx="5">
                  <c:v>84.787800000000004</c:v>
                </c:pt>
                <c:pt idx="6">
                  <c:v>563.72080000000005</c:v>
                </c:pt>
                <c:pt idx="7">
                  <c:v>206.30250000000001</c:v>
                </c:pt>
              </c:numCache>
            </c:numRef>
          </c:xVal>
          <c:yVal>
            <c:numRef>
              <c:f>Sheet1!$B$2:$B$9</c:f>
              <c:numCache>
                <c:formatCode>General</c:formatCode>
                <c:ptCount val="8"/>
                <c:pt idx="0">
                  <c:v>1.03</c:v>
                </c:pt>
                <c:pt idx="1">
                  <c:v>0.748</c:v>
                </c:pt>
                <c:pt idx="2">
                  <c:v>0.751</c:v>
                </c:pt>
                <c:pt idx="3">
                  <c:v>4.0640000000000001</c:v>
                </c:pt>
                <c:pt idx="4">
                  <c:v>1.9950000000000001</c:v>
                </c:pt>
                <c:pt idx="5">
                  <c:v>0.40899999999999997</c:v>
                </c:pt>
                <c:pt idx="6">
                  <c:v>6.1130000000000004</c:v>
                </c:pt>
                <c:pt idx="7">
                  <c:v>2.4860000000000002</c:v>
                </c:pt>
              </c:numCache>
            </c:numRef>
          </c:yVal>
          <c:bubbleSize>
            <c:numRef>
              <c:f>Sheet1!$C$2:$C$9</c:f>
              <c:numCache>
                <c:formatCode>General</c:formatCode>
                <c:ptCount val="8"/>
                <c:pt idx="0">
                  <c:v>523432960</c:v>
                </c:pt>
                <c:pt idx="1">
                  <c:v>246489415</c:v>
                </c:pt>
                <c:pt idx="2">
                  <c:v>205279552</c:v>
                </c:pt>
                <c:pt idx="3">
                  <c:v>108131910</c:v>
                </c:pt>
                <c:pt idx="4">
                  <c:v>101346207</c:v>
                </c:pt>
                <c:pt idx="5">
                  <c:v>61992752</c:v>
                </c:pt>
                <c:pt idx="6">
                  <c:v>44526055</c:v>
                </c:pt>
                <c:pt idx="7">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6FD2A94-717A-4657-98E7-68EC756260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85CF56B-3A45-4FB0-AE7C-07EE1C104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356938F-0D93-4CEF-A80E-79122805D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8ADDE20-2129-44BB-937E-E0F6673265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AF79780-B973-4B40-810B-085B25E2B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54B2DD1-36C6-43B4-9072-AE646F98F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2AA8F10-0624-4267-B357-BBAD615A1D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7E15333-D70D-4252-BD5B-C4D806C162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50.3373</c:v>
                </c:pt>
                <c:pt idx="1">
                  <c:v>424.61759999999998</c:v>
                </c:pt>
              </c:numCache>
            </c:numRef>
          </c:xVal>
          <c:yVal>
            <c:numRef>
              <c:f>Sheet1!$B$2:$B$3</c:f>
              <c:numCache>
                <c:formatCode>General</c:formatCode>
                <c:ptCount val="2"/>
                <c:pt idx="0">
                  <c:v>0.98299999999999998</c:v>
                </c:pt>
                <c:pt idx="1">
                  <c:v>6.0019999999999998</c:v>
                </c:pt>
              </c:numCache>
            </c:numRef>
          </c:yVal>
          <c:bubbleSize>
            <c:numRef>
              <c:f>Sheet1!$C$2:$C$3</c:f>
              <c:numCache>
                <c:formatCode>General</c:formatCode>
                <c:ptCount val="2"/>
                <c:pt idx="0">
                  <c:v>46575760</c:v>
                </c:pt>
                <c:pt idx="1">
                  <c:v>989359</c:v>
                </c:pt>
              </c:numCache>
            </c:numRef>
          </c:bubbleSize>
          <c:bubble3D val="0"/>
          <c:extLst>
            <c:ext xmlns:c15="http://schemas.microsoft.com/office/drawing/2012/chart" uri="{02D57815-91ED-43cb-92C2-25804820EDAC}">
              <c15:datalabelsRange>
                <c15:f>Sheet1!$E$2:$E$10</c15:f>
                <c15:dlblRangeCache>
                  <c:ptCount val="9"/>
                  <c:pt idx="0">
                    <c:v>Banana Boat</c:v>
                  </c:pt>
                  <c:pt idx="1">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0"/>
          <c:min val="20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C3FD567-5AE1-41A7-8667-FF1B8C560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52627F3D-EFD7-4C1F-9FC9-FB0DB21E56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8130FFBE-01F2-4C16-9FD8-A0CEBE083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C0C76D2F-F689-42E2-8685-C8742585A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5F591624-C75E-4F5B-BBE5-BBC1DCF27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E6864591-C46D-4E17-8163-4B1A146B4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1C004BCD-BA96-421A-B019-0DC9AF24D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80EC59A9-AA73-4B54-B998-D977B981E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4.67789999999999</c:v>
                </c:pt>
              </c:numCache>
            </c:numRef>
          </c:xVal>
          <c:yVal>
            <c:numRef>
              <c:f>Sheet1!$B$2:$B$2</c:f>
              <c:numCache>
                <c:formatCode>General</c:formatCode>
                <c:ptCount val="1"/>
                <c:pt idx="0">
                  <c:v>1</c:v>
                </c:pt>
              </c:numCache>
            </c:numRef>
          </c:yVal>
          <c:bubbleSize>
            <c:numRef>
              <c:f>Sheet1!$C$2:$C$2</c:f>
              <c:numCache>
                <c:formatCode>General</c:formatCode>
                <c:ptCount val="1"/>
                <c:pt idx="0">
                  <c:v>1562716</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6"/>
          <c:min val="16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4DBF7C56-B738-49F6-B459-4B70E95E5E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C75D9417-6C40-4971-81F0-870E5CB2F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C6816977-485D-41E4-AB5E-B35170F27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7A6515FC-9060-4A24-AED9-B7412E741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BA95EEBC-166D-4B71-B45C-35C84FD24D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2217AD9F-D235-4D8C-8BA5-3F3C1DE5C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15B1B5E1-7E70-4DF2-874C-F21BE03D35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8BF9B34C-D42F-4AF9-8A99-A62C4313D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8.50640000000001</c:v>
                </c:pt>
              </c:numCache>
            </c:numRef>
          </c:xVal>
          <c:yVal>
            <c:numRef>
              <c:f>Sheet1!$B$2:$B$2</c:f>
              <c:numCache>
                <c:formatCode>General</c:formatCode>
                <c:ptCount val="1"/>
                <c:pt idx="0">
                  <c:v>1</c:v>
                </c:pt>
              </c:numCache>
            </c:numRef>
          </c:yVal>
          <c:bubbleSize>
            <c:numRef>
              <c:f>Sheet1!$C$2:$C$2</c:f>
              <c:numCache>
                <c:formatCode>General</c:formatCode>
                <c:ptCount val="1"/>
                <c:pt idx="0">
                  <c:v>9805641</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0"/>
          <c:min val="16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AE33E867-6F63-418F-A264-F729D30FE1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64B14224-E9F6-48D8-9087-3E4C26DC3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628E966F-AE43-4555-A886-C92A18E0B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D66BBAD1-A50E-4BE2-B613-A1CC57270D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C01A71BD-51E1-4821-8C6A-BC03C0E3E0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0E4A937B-1142-4A72-A761-18273BBB1D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75A06F11-C263-4F2E-A65D-FE9208BDAF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73256687-4CF2-4ED2-84BD-79E9D989DE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72.78359999999998</c:v>
                </c:pt>
                <c:pt idx="1">
                  <c:v>351.66789999999997</c:v>
                </c:pt>
                <c:pt idx="2">
                  <c:v>322.3177</c:v>
                </c:pt>
                <c:pt idx="3">
                  <c:v>408.41359999999997</c:v>
                </c:pt>
              </c:numCache>
            </c:numRef>
          </c:xVal>
          <c:yVal>
            <c:numRef>
              <c:f>Sheet1!$B$2:$B$5</c:f>
              <c:numCache>
                <c:formatCode>General</c:formatCode>
                <c:ptCount val="4"/>
                <c:pt idx="0">
                  <c:v>0.56299999999999994</c:v>
                </c:pt>
                <c:pt idx="1">
                  <c:v>2.0299999999999998</c:v>
                </c:pt>
                <c:pt idx="2">
                  <c:v>2.2400000000000002</c:v>
                </c:pt>
                <c:pt idx="3">
                  <c:v>2.6789999999999998</c:v>
                </c:pt>
              </c:numCache>
            </c:numRef>
          </c:yVal>
          <c:bubbleSize>
            <c:numRef>
              <c:f>Sheet1!$C$2:$C$5</c:f>
              <c:numCache>
                <c:formatCode>General</c:formatCode>
                <c:ptCount val="4"/>
                <c:pt idx="0">
                  <c:v>2219640</c:v>
                </c:pt>
                <c:pt idx="1">
                  <c:v>2139196</c:v>
                </c:pt>
                <c:pt idx="2">
                  <c:v>871547</c:v>
                </c:pt>
                <c:pt idx="3">
                  <c:v>191546</c:v>
                </c:pt>
              </c:numCache>
            </c:numRef>
          </c:bubbleSize>
          <c:bubble3D val="0"/>
          <c:extLst>
            <c:ext xmlns:c15="http://schemas.microsoft.com/office/drawing/2012/chart" uri="{02D57815-91ED-43cb-92C2-25804820EDAC}">
              <c15:datalabelsRange>
                <c15:f>Sheet1!$E$2:$E$10</c15:f>
                <c15:dlblRangeCache>
                  <c:ptCount val="9"/>
                  <c:pt idx="0">
                    <c:v>Banana Boat</c:v>
                  </c:pt>
                  <c:pt idx="1">
                    <c:v>Australian Gold</c:v>
                  </c:pt>
                  <c:pt idx="2">
                    <c:v>Ocean Potion</c:v>
                  </c:pt>
                  <c:pt idx="3">
                    <c:v>Mustela</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0"/>
          <c:min val="2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06DAD13-1ECB-4C36-8FDD-9DEC2E2106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DDB3015E-01CB-4DBA-86A0-0F4DB7242B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93F289C-4139-4E92-BBF2-90AF1C2A5E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159E7B2-0E96-4B18-B093-F95BFBC8FC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04D3706-5018-4227-B2ED-FA67F506F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E673653-AA31-4926-A194-46E34A958B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CF18C35-AD59-439C-8F42-6BE69DB7E2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DF8104E-CFF0-43A0-A7F2-40929D21E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51.09890000000001</c:v>
                </c:pt>
              </c:numCache>
            </c:numRef>
          </c:xVal>
          <c:yVal>
            <c:numRef>
              <c:f>Sheet1!$B$2:$B$2</c:f>
              <c:numCache>
                <c:formatCode>General</c:formatCode>
                <c:ptCount val="1"/>
                <c:pt idx="0">
                  <c:v>0.47</c:v>
                </c:pt>
              </c:numCache>
            </c:numRef>
          </c:yVal>
          <c:bubbleSize>
            <c:numRef>
              <c:f>Sheet1!$C$2:$C$2</c:f>
              <c:numCache>
                <c:formatCode>General</c:formatCode>
                <c:ptCount val="1"/>
                <c:pt idx="0">
                  <c:v>2155747</c:v>
                </c:pt>
              </c:numCache>
            </c:numRef>
          </c:bubbleSize>
          <c:bubble3D val="0"/>
          <c:extLst>
            <c:ext xmlns:c15="http://schemas.microsoft.com/office/drawing/2012/chart" uri="{02D57815-91ED-43cb-92C2-25804820EDAC}">
              <c15:datalabelsRange>
                <c15:f>Sheet1!$E$2:$E$10</c15:f>
                <c15:dlblRangeCache>
                  <c:ptCount val="9"/>
                  <c:pt idx="0">
                    <c:v>Neutrogen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1"/>
          <c:min val="28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B6ADB9E0-835E-4514-B7E6-B602B7AE9F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0EDC5F6-DDCF-4B4D-A085-E2A614B1B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CDEF43A-0A4F-40C4-B83D-77FA7295A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B69124FD-E146-4325-A812-E23EE93C31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075708F5-4874-4D8C-96FF-CF4B7BF61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42D315DF-EBA3-45DA-A9E4-35ABA0885A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3C009AB3-1B4E-464B-9922-451F2AEEED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F75525FD-CB26-4DC3-AD8A-23D11DC7D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597.39189999999996</c:v>
                </c:pt>
                <c:pt idx="1">
                  <c:v>490.33460000000002</c:v>
                </c:pt>
                <c:pt idx="2">
                  <c:v>644.59540000000004</c:v>
                </c:pt>
              </c:numCache>
            </c:numRef>
          </c:xVal>
          <c:yVal>
            <c:numRef>
              <c:f>Sheet1!$B$2:$B$4</c:f>
              <c:numCache>
                <c:formatCode>General</c:formatCode>
                <c:ptCount val="3"/>
                <c:pt idx="0">
                  <c:v>0.99399999999999999</c:v>
                </c:pt>
                <c:pt idx="1">
                  <c:v>1.855</c:v>
                </c:pt>
                <c:pt idx="2">
                  <c:v>2.4529999999999998</c:v>
                </c:pt>
              </c:numCache>
            </c:numRef>
          </c:yVal>
          <c:bubbleSize>
            <c:numRef>
              <c:f>Sheet1!$C$2:$C$4</c:f>
              <c:numCache>
                <c:formatCode>General</c:formatCode>
                <c:ptCount val="3"/>
                <c:pt idx="0">
                  <c:v>7450074</c:v>
                </c:pt>
                <c:pt idx="1">
                  <c:v>5051427</c:v>
                </c:pt>
                <c:pt idx="2">
                  <c:v>1432291</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Vich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74"/>
          <c:min val="39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40E18A6-5505-48A2-88B4-85112EC51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E56BDA4C-3211-4892-88F5-D8DC4BBAF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659A1289-0607-49A4-B441-4798D07B8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B06D1B55-2885-4830-AE31-AC10CE92B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1650739A-1540-4A7B-9C85-A14926590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2E1013B9-44CA-4F02-9620-DA0D21122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AAD84ED2-C358-401D-8B56-8566E49F9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3CD82349-681A-4DBA-A463-DEF06F1792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0.39980000000003</c:v>
                </c:pt>
                <c:pt idx="1">
                  <c:v>583.70219999999995</c:v>
                </c:pt>
                <c:pt idx="2">
                  <c:v>543.72979999999995</c:v>
                </c:pt>
                <c:pt idx="3">
                  <c:v>606.59429999999998</c:v>
                </c:pt>
                <c:pt idx="4">
                  <c:v>624.12639999999999</c:v>
                </c:pt>
                <c:pt idx="5">
                  <c:v>332.27109999999999</c:v>
                </c:pt>
                <c:pt idx="6">
                  <c:v>653.98230000000001</c:v>
                </c:pt>
                <c:pt idx="7">
                  <c:v>298.34109999999998</c:v>
                </c:pt>
              </c:numCache>
            </c:numRef>
          </c:xVal>
          <c:yVal>
            <c:numRef>
              <c:f>Sheet1!$B$2:$B$9</c:f>
              <c:numCache>
                <c:formatCode>General</c:formatCode>
                <c:ptCount val="8"/>
                <c:pt idx="0">
                  <c:v>0.76</c:v>
                </c:pt>
                <c:pt idx="1">
                  <c:v>2.9910000000000001</c:v>
                </c:pt>
                <c:pt idx="2">
                  <c:v>1.4279999999999999</c:v>
                </c:pt>
                <c:pt idx="3">
                  <c:v>1.9219999999999999</c:v>
                </c:pt>
                <c:pt idx="4">
                  <c:v>2.8980000000000001</c:v>
                </c:pt>
                <c:pt idx="5">
                  <c:v>0.91800000000000004</c:v>
                </c:pt>
                <c:pt idx="6">
                  <c:v>1.2909999999999999</c:v>
                </c:pt>
                <c:pt idx="7">
                  <c:v>0.47599999999999998</c:v>
                </c:pt>
              </c:numCache>
            </c:numRef>
          </c:yVal>
          <c:bubbleSize>
            <c:numRef>
              <c:f>Sheet1!$C$2:$C$9</c:f>
              <c:numCache>
                <c:formatCode>General</c:formatCode>
                <c:ptCount val="8"/>
                <c:pt idx="0">
                  <c:v>99185766</c:v>
                </c:pt>
                <c:pt idx="1">
                  <c:v>57072654</c:v>
                </c:pt>
                <c:pt idx="2">
                  <c:v>18521067</c:v>
                </c:pt>
                <c:pt idx="3">
                  <c:v>16668605</c:v>
                </c:pt>
                <c:pt idx="4">
                  <c:v>12805826</c:v>
                </c:pt>
                <c:pt idx="5">
                  <c:v>10724715</c:v>
                </c:pt>
                <c:pt idx="6">
                  <c:v>8827453</c:v>
                </c:pt>
                <c:pt idx="7">
                  <c:v>6393152</c:v>
                </c:pt>
              </c:numCache>
            </c:numRef>
          </c:bubbleSize>
          <c:bubble3D val="0"/>
          <c:extLst>
            <c:ext xmlns:c15="http://schemas.microsoft.com/office/drawing/2012/chart" uri="{02D57815-91ED-43cb-92C2-25804820EDAC}">
              <c15:datalabelsRange>
                <c15:f>Sheet1!$E$2:$E$10</c15:f>
                <c15:dlblRangeCache>
                  <c:ptCount val="9"/>
                  <c:pt idx="0">
                    <c:v>Neutrogena</c:v>
                  </c:pt>
                  <c:pt idx="1">
                    <c:v>Isdin</c:v>
                  </c:pt>
                  <c:pt idx="2">
                    <c:v>Avene</c:v>
                  </c:pt>
                  <c:pt idx="3">
                    <c:v>Eucerin</c:v>
                  </c:pt>
                  <c:pt idx="4">
                    <c:v>La Roche-Posay</c:v>
                  </c:pt>
                  <c:pt idx="5">
                    <c:v>Eclipsol</c:v>
                  </c:pt>
                  <c:pt idx="6">
                    <c:v>Vichy</c:v>
                  </c:pt>
                  <c:pt idx="7">
                    <c:v>Cicatricur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5"/>
          <c:min val="23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74ACA732-0A4D-4F7A-9327-A814B6B35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1C30EB73-415C-4C49-8EA1-5241F5A364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6CEECCF6-6B85-4CE6-8BDC-8B0BB0C0D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4B27AAEC-C02A-4550-9FB1-0A4E2A822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E3A4BB3D-8793-41C4-934E-DA0C742A7C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BA53DA7A-B02A-4CF6-B88D-736FAFE46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AB000AAB-E5BC-4D15-A971-B8541927B6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815539CA-DAC3-4F49-A5EE-A6DAACC6C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551.95619999999997</c:v>
                </c:pt>
                <c:pt idx="1">
                  <c:v>580.10599999999999</c:v>
                </c:pt>
                <c:pt idx="2">
                  <c:v>533.79150000000004</c:v>
                </c:pt>
                <c:pt idx="3">
                  <c:v>524.24919999999997</c:v>
                </c:pt>
                <c:pt idx="4">
                  <c:v>369.12920000000003</c:v>
                </c:pt>
              </c:numCache>
            </c:numRef>
          </c:xVal>
          <c:yVal>
            <c:numRef>
              <c:f>Sheet1!$B$2:$B$6</c:f>
              <c:numCache>
                <c:formatCode>General</c:formatCode>
                <c:ptCount val="5"/>
                <c:pt idx="0">
                  <c:v>0.89700000000000002</c:v>
                </c:pt>
                <c:pt idx="1">
                  <c:v>1.0389999999999999</c:v>
                </c:pt>
                <c:pt idx="2">
                  <c:v>1.478</c:v>
                </c:pt>
                <c:pt idx="3">
                  <c:v>0.82799999999999996</c:v>
                </c:pt>
                <c:pt idx="4">
                  <c:v>1.109</c:v>
                </c:pt>
              </c:numCache>
            </c:numRef>
          </c:yVal>
          <c:bubbleSize>
            <c:numRef>
              <c:f>Sheet1!$C$2:$C$6</c:f>
              <c:numCache>
                <c:formatCode>General</c:formatCode>
                <c:ptCount val="5"/>
                <c:pt idx="0">
                  <c:v>17135479</c:v>
                </c:pt>
                <c:pt idx="1">
                  <c:v>14920906</c:v>
                </c:pt>
                <c:pt idx="2">
                  <c:v>4767826</c:v>
                </c:pt>
                <c:pt idx="3">
                  <c:v>4638557</c:v>
                </c:pt>
                <c:pt idx="4">
                  <c:v>2334373</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Eucerin</c:v>
                  </c:pt>
                  <c:pt idx="4">
                    <c:v>Photoderm</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6"/>
          <c:min val="29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E39B4B-8256-42C2-A1DE-85E6D90BC9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DF32E1-7984-47B4-862F-45A3AB1B2F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331D48-82B2-411D-8142-540EF6AEA0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07CF3EE-574C-4F52-88C0-AA92737F30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95D08F6-EAE0-476F-8109-2FFAB9AFD7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99228DD-EF33-4D97-AF29-116C7B1F9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443D2E9-D8A0-40FD-9542-FFC62DBA94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DBF1A97-A879-4670-9EFA-D5A0E9EE7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591.13890000000004</c:v>
                </c:pt>
                <c:pt idx="1">
                  <c:v>552.87980000000005</c:v>
                </c:pt>
                <c:pt idx="2">
                  <c:v>539.27739999999994</c:v>
                </c:pt>
                <c:pt idx="3">
                  <c:v>567.20190000000002</c:v>
                </c:pt>
                <c:pt idx="4">
                  <c:v>467.96749999999997</c:v>
                </c:pt>
              </c:numCache>
            </c:numRef>
          </c:xVal>
          <c:yVal>
            <c:numRef>
              <c:f>Sheet1!$B$2:$B$6</c:f>
              <c:numCache>
                <c:formatCode>General</c:formatCode>
                <c:ptCount val="5"/>
                <c:pt idx="0">
                  <c:v>0.57299999999999995</c:v>
                </c:pt>
                <c:pt idx="1">
                  <c:v>2.64</c:v>
                </c:pt>
                <c:pt idx="2">
                  <c:v>2.7069999999999999</c:v>
                </c:pt>
                <c:pt idx="3">
                  <c:v>16.600999999999999</c:v>
                </c:pt>
                <c:pt idx="4">
                  <c:v>1.286</c:v>
                </c:pt>
              </c:numCache>
            </c:numRef>
          </c:yVal>
          <c:bubbleSize>
            <c:numRef>
              <c:f>Sheet1!$C$2:$C$6</c:f>
              <c:numCache>
                <c:formatCode>General</c:formatCode>
                <c:ptCount val="5"/>
                <c:pt idx="0">
                  <c:v>17641359</c:v>
                </c:pt>
                <c:pt idx="1">
                  <c:v>11875859</c:v>
                </c:pt>
                <c:pt idx="2">
                  <c:v>5504944</c:v>
                </c:pt>
                <c:pt idx="3">
                  <c:v>1573418</c:v>
                </c:pt>
                <c:pt idx="4">
                  <c:v>1323880</c:v>
                </c:pt>
              </c:numCache>
            </c:numRef>
          </c:bubbleSize>
          <c:bubble3D val="0"/>
          <c:extLst>
            <c:ext xmlns:c15="http://schemas.microsoft.com/office/drawing/2012/chart" uri="{02D57815-91ED-43cb-92C2-25804820EDAC}">
              <c15:datalabelsRange>
                <c15:f>Sheet1!$E$2:$E$10</c15:f>
                <c15:dlblRangeCache>
                  <c:ptCount val="9"/>
                  <c:pt idx="0">
                    <c:v>Isdin</c:v>
                  </c:pt>
                  <c:pt idx="1">
                    <c:v>Eucerin</c:v>
                  </c:pt>
                  <c:pt idx="2">
                    <c:v>La Roche-Posay</c:v>
                  </c:pt>
                  <c:pt idx="3">
                    <c:v>Photoderm</c:v>
                  </c:pt>
                  <c:pt idx="4">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37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AB7796C-5599-40EB-8212-BE52E594D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C1D7889-BC58-4881-A04B-44A05AA90F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28FB852F-B326-4BF1-87E9-CE1E82273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3D916FEC-DDE5-4961-8E88-29D547411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B66F69D1-8BBC-4DB6-8A2D-3C5F9B3D0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9E0092D4-A86E-47F8-9AA6-A62115C83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8ED40EBF-677B-4DAB-AA51-8DEEDF23EF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87478D75-1E94-4E40-892E-5C726905F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02.04489999999998</c:v>
                </c:pt>
                <c:pt idx="1">
                  <c:v>627.20219999999995</c:v>
                </c:pt>
              </c:numCache>
            </c:numRef>
          </c:xVal>
          <c:yVal>
            <c:numRef>
              <c:f>Sheet1!$B$2:$B$3</c:f>
              <c:numCache>
                <c:formatCode>General</c:formatCode>
                <c:ptCount val="2"/>
                <c:pt idx="0">
                  <c:v>0.90200000000000002</c:v>
                </c:pt>
                <c:pt idx="1">
                  <c:v>0</c:v>
                </c:pt>
              </c:numCache>
            </c:numRef>
          </c:yVal>
          <c:bubbleSize>
            <c:numRef>
              <c:f>Sheet1!$C$2:$C$3</c:f>
              <c:numCache>
                <c:formatCode>General</c:formatCode>
                <c:ptCount val="2"/>
                <c:pt idx="0">
                  <c:v>2562303</c:v>
                </c:pt>
                <c:pt idx="1">
                  <c:v>279105</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3"/>
          <c:min val="48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5B31DE-F882-4B10-90CB-F73E6A4F9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D308746-B438-486A-9ABC-DA50F3B120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BC38B66-50DA-430A-A565-BBFAC09B1D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E881839-79F4-4DBC-A58A-E8C008E210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95E7588-104E-4333-A008-FC2780C7F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5A8044C-4431-4A7B-BABC-65F6E52D02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368C3BF-DC11-4907-A7B2-6455C8FED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08BF60F-59FA-44BE-B9FB-E2DD0F1D9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95.63639999999998</c:v>
                </c:pt>
              </c:numCache>
            </c:numRef>
          </c:xVal>
          <c:yVal>
            <c:numRef>
              <c:f>Sheet1!$B$2:$B$2</c:f>
              <c:numCache>
                <c:formatCode>General</c:formatCode>
                <c:ptCount val="1"/>
                <c:pt idx="0">
                  <c:v>2.5670000000000002</c:v>
                </c:pt>
              </c:numCache>
            </c:numRef>
          </c:yVal>
          <c:bubbleSize>
            <c:numRef>
              <c:f>Sheet1!$C$2:$C$2</c:f>
              <c:numCache>
                <c:formatCode>General</c:formatCode>
                <c:ptCount val="1"/>
                <c:pt idx="0">
                  <c:v>21760</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5"/>
          <c:min val="31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A0AD9336-A625-414B-9478-A71440EED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A39B4669-023F-4EC9-A3D0-88BC1298AC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DA5C495E-908C-46C1-9EAA-B9C2BB8EF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97760951-7CFC-445E-9388-C7384C8D7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8A5D6048-C559-4D10-AA13-A1D648B971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B51A679D-2371-48E2-9CC3-08ED6993B8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F5381AF9-0727-4125-84CF-067869273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3C6D3958-5B53-4B50-8386-56A9C9FCB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7.20529999999999</c:v>
                </c:pt>
                <c:pt idx="1">
                  <c:v>601.52750000000003</c:v>
                </c:pt>
                <c:pt idx="2">
                  <c:v>576.16099999999994</c:v>
                </c:pt>
                <c:pt idx="3">
                  <c:v>601.99080000000004</c:v>
                </c:pt>
                <c:pt idx="4">
                  <c:v>481.26670000000001</c:v>
                </c:pt>
                <c:pt idx="5">
                  <c:v>328.99709999999999</c:v>
                </c:pt>
                <c:pt idx="6">
                  <c:v>674.8818</c:v>
                </c:pt>
                <c:pt idx="7">
                  <c:v>449.5847</c:v>
                </c:pt>
              </c:numCache>
            </c:numRef>
          </c:xVal>
          <c:yVal>
            <c:numRef>
              <c:f>Sheet1!$B$2:$B$9</c:f>
              <c:numCache>
                <c:formatCode>General</c:formatCode>
                <c:ptCount val="8"/>
                <c:pt idx="0">
                  <c:v>1.1259999999999999</c:v>
                </c:pt>
                <c:pt idx="1">
                  <c:v>1.355</c:v>
                </c:pt>
                <c:pt idx="2">
                  <c:v>0.65200000000000002</c:v>
                </c:pt>
                <c:pt idx="3">
                  <c:v>1.381</c:v>
                </c:pt>
                <c:pt idx="4">
                  <c:v>0.82399999999999995</c:v>
                </c:pt>
                <c:pt idx="5">
                  <c:v>0.50800000000000001</c:v>
                </c:pt>
                <c:pt idx="6">
                  <c:v>0.69499999999999995</c:v>
                </c:pt>
                <c:pt idx="7">
                  <c:v>0.38100000000000001</c:v>
                </c:pt>
              </c:numCache>
            </c:numRef>
          </c:yVal>
          <c:bubbleSize>
            <c:numRef>
              <c:f>Sheet1!$C$2:$C$9</c:f>
              <c:numCache>
                <c:formatCode>General</c:formatCode>
                <c:ptCount val="8"/>
                <c:pt idx="0">
                  <c:v>19748491</c:v>
                </c:pt>
                <c:pt idx="1">
                  <c:v>4652815</c:v>
                </c:pt>
                <c:pt idx="2">
                  <c:v>3481741</c:v>
                </c:pt>
                <c:pt idx="3">
                  <c:v>2151515</c:v>
                </c:pt>
                <c:pt idx="4">
                  <c:v>1959718</c:v>
                </c:pt>
                <c:pt idx="5">
                  <c:v>1031406</c:v>
                </c:pt>
                <c:pt idx="6">
                  <c:v>496713</c:v>
                </c:pt>
                <c:pt idx="7">
                  <c:v>469816</c:v>
                </c:pt>
              </c:numCache>
            </c:numRef>
          </c:bubbleSize>
          <c:bubble3D val="0"/>
          <c:extLst>
            <c:ext xmlns:c15="http://schemas.microsoft.com/office/drawing/2012/chart" uri="{02D57815-91ED-43cb-92C2-25804820EDAC}">
              <c15:datalabelsRange>
                <c15:f>Sheet1!$E$2:$E$10</c15:f>
                <c15:dlblRangeCache>
                  <c:ptCount val="9"/>
                  <c:pt idx="0">
                    <c:v>Loreal Paris</c:v>
                  </c:pt>
                  <c:pt idx="1">
                    <c:v>Isdin</c:v>
                  </c:pt>
                  <c:pt idx="2">
                    <c:v>Eucerin</c:v>
                  </c:pt>
                  <c:pt idx="3">
                    <c:v>La Roche-Posay</c:v>
                  </c:pt>
                  <c:pt idx="4">
                    <c:v>Cetaphil</c:v>
                  </c:pt>
                  <c:pt idx="5">
                    <c:v>Eclipsol</c:v>
                  </c:pt>
                  <c:pt idx="6">
                    <c:v>Vichy</c:v>
                  </c:pt>
                  <c:pt idx="7">
                    <c:v>Aven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0"/>
          <c:min val="19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C460F86F-0252-447B-B943-453A83443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870102E6-40D0-4EE3-9259-AF13DA53D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F7DE6B3F-E8B0-4CC9-935F-4CF92C79B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727E54F4-A2E6-45DD-81AC-2C79D18410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380B1CAC-4EE3-460C-BDD9-E94DFC689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8FCD5969-CA72-4A4F-9452-E713A9C1F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346B6660-5F52-42DE-8401-1F3A7A9CB9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685A3BB5-3805-4D63-8B0E-D245F0650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597.97450000000003</c:v>
                </c:pt>
                <c:pt idx="1">
                  <c:v>566.36</c:v>
                </c:pt>
                <c:pt idx="2">
                  <c:v>246.7004</c:v>
                </c:pt>
              </c:numCache>
            </c:numRef>
          </c:xVal>
          <c:yVal>
            <c:numRef>
              <c:f>Sheet1!$B$2:$B$4</c:f>
              <c:numCache>
                <c:formatCode>General</c:formatCode>
                <c:ptCount val="3"/>
                <c:pt idx="0">
                  <c:v>0.72099999999999997</c:v>
                </c:pt>
                <c:pt idx="1">
                  <c:v>1.2230000000000001</c:v>
                </c:pt>
                <c:pt idx="2">
                  <c:v>1.397</c:v>
                </c:pt>
              </c:numCache>
            </c:numRef>
          </c:yVal>
          <c:bubbleSize>
            <c:numRef>
              <c:f>Sheet1!$C$2:$C$4</c:f>
              <c:numCache>
                <c:formatCode>General</c:formatCode>
                <c:ptCount val="3"/>
                <c:pt idx="0">
                  <c:v>1685690</c:v>
                </c:pt>
                <c:pt idx="1">
                  <c:v>1592038</c:v>
                </c:pt>
                <c:pt idx="2">
                  <c:v>1269767</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Eclipsol</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8"/>
          <c:min val="19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02DF5C-C5E6-4B31-BBA3-D6BA33802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BD2ADF-725C-4448-8C3D-FC5420621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C906BA-6189-4660-943C-92C81A795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88D3986-A675-4600-A54F-C54CA781C0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FCB93C3-5C70-416B-A57A-D641DBD6F6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0C69F45-38E3-4FC6-AEFD-1EBF20719F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FF94FF0-1DB7-4B11-AC17-AF5E61433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080BBCA-2FCD-44DE-8A3E-6D12E9CD1F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57.53</c:v>
                </c:pt>
                <c:pt idx="1">
                  <c:v>539.44320000000005</c:v>
                </c:pt>
                <c:pt idx="2">
                  <c:v>718.29409999999996</c:v>
                </c:pt>
              </c:numCache>
            </c:numRef>
          </c:xVal>
          <c:yVal>
            <c:numRef>
              <c:f>Sheet1!$B$2:$B$4</c:f>
              <c:numCache>
                <c:formatCode>General</c:formatCode>
                <c:ptCount val="3"/>
                <c:pt idx="0">
                  <c:v>0.98299999999999998</c:v>
                </c:pt>
                <c:pt idx="1">
                  <c:v>1.0369999999999999</c:v>
                </c:pt>
                <c:pt idx="2">
                  <c:v>0</c:v>
                </c:pt>
              </c:numCache>
            </c:numRef>
          </c:yVal>
          <c:bubbleSize>
            <c:numRef>
              <c:f>Sheet1!$C$2:$C$4</c:f>
              <c:numCache>
                <c:formatCode>General</c:formatCode>
                <c:ptCount val="3"/>
                <c:pt idx="0">
                  <c:v>2693243</c:v>
                </c:pt>
                <c:pt idx="1">
                  <c:v>284826</c:v>
                </c:pt>
                <c:pt idx="2">
                  <c:v>36633</c:v>
                </c:pt>
              </c:numCache>
            </c:numRef>
          </c:bubbleSize>
          <c:bubble3D val="0"/>
          <c:extLst>
            <c:ext xmlns:c15="http://schemas.microsoft.com/office/drawing/2012/chart" uri="{02D57815-91ED-43cb-92C2-25804820EDAC}">
              <c15:datalabelsRange>
                <c15:f>Sheet1!$E$2:$E$10</c15:f>
                <c15:dlblRangeCache>
                  <c:ptCount val="9"/>
                  <c:pt idx="0">
                    <c:v>Photoderm</c:v>
                  </c:pt>
                  <c:pt idx="1">
                    <c:v>La Roche-Posay</c:v>
                  </c:pt>
                  <c:pt idx="2">
                    <c:v>Genov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2"/>
          <c:min val="43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42BB595-948D-4BF0-B4BC-458D4890E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4AA03391-FA6E-4A3B-AF47-270F3B411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DB333D86-EAD3-419A-A616-89A7468A19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E3056ED4-6D33-4714-84E0-7D76FAB01A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2D1498C7-988B-437E-8198-B1F7D3B55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57B39606-81AF-4FA8-8BD7-A26B608E1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0DF4CCC1-776C-4B7D-89AF-260A6CEEB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731036F4-47FE-4A73-9787-89945EEA5C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28.661</c:v>
                </c:pt>
              </c:numCache>
            </c:numRef>
          </c:xVal>
          <c:yVal>
            <c:numRef>
              <c:f>Sheet1!$B$2:$B$2</c:f>
              <c:numCache>
                <c:formatCode>General</c:formatCode>
                <c:ptCount val="1"/>
                <c:pt idx="0">
                  <c:v>1</c:v>
                </c:pt>
              </c:numCache>
            </c:numRef>
          </c:yVal>
          <c:bubbleSize>
            <c:numRef>
              <c:f>Sheet1!$C$2:$C$2</c:f>
              <c:numCache>
                <c:formatCode>General</c:formatCode>
                <c:ptCount val="1"/>
                <c:pt idx="0">
                  <c:v>4708412</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4"/>
          <c:min val="34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7734CF5-6BB1-405C-A45A-3D9915053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CA07D52-EE7B-4802-BEC2-ECD859F98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D7AF3694-B80C-4E74-B0FF-066422A0C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C667F10C-F7EF-4F24-AA3B-9874B7EC6C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2DA7D2C1-C4B3-42E0-A788-7B2710F67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955A0615-6C81-404D-8C31-474FBD689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FE05E4F0-B351-4403-BA91-345BA924AA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E2D219F2-514C-4CBD-8E3B-328B60D8B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45.435</c:v>
                </c:pt>
                <c:pt idx="1">
                  <c:v>74.766199999999998</c:v>
                </c:pt>
              </c:numCache>
            </c:numRef>
          </c:xVal>
          <c:yVal>
            <c:numRef>
              <c:f>Sheet1!$B$2:$B$3</c:f>
              <c:numCache>
                <c:formatCode>General</c:formatCode>
                <c:ptCount val="2"/>
                <c:pt idx="0">
                  <c:v>1.2470000000000001</c:v>
                </c:pt>
                <c:pt idx="1">
                  <c:v>0.74399999999999999</c:v>
                </c:pt>
              </c:numCache>
            </c:numRef>
          </c:yVal>
          <c:bubbleSize>
            <c:numRef>
              <c:f>Sheet1!$C$2:$C$3</c:f>
              <c:numCache>
                <c:formatCode>General</c:formatCode>
                <c:ptCount val="2"/>
                <c:pt idx="0">
                  <c:v>34943802</c:v>
                </c:pt>
                <c:pt idx="1">
                  <c:v>16190032</c:v>
                </c:pt>
              </c:numCache>
            </c:numRef>
          </c:bubbleSize>
          <c:bubble3D val="0"/>
          <c:extLst>
            <c:ext xmlns:c15="http://schemas.microsoft.com/office/drawing/2012/chart" uri="{02D57815-91ED-43cb-92C2-25804820EDAC}">
              <c15:datalabelsRange>
                <c15:f>Sheet1!$E$2:$E$10</c15:f>
                <c15:dlblRangeCache>
                  <c:ptCount val="9"/>
                  <c:pt idx="0">
                    <c:v>Banana Boat</c:v>
                  </c:pt>
                  <c:pt idx="1">
                    <c:v>Caribbean Beach</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5"/>
          <c:min val="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49320C38-BCED-42CA-8EEC-E7C371B8A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563564CB-E0CF-4CC4-9765-9E1BB73A3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34129289-1EB3-4BE8-8EBE-D9EE6479AB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D38DA10E-2D4F-4FB3-850F-2041E37E5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29BE2B05-BFCE-46D9-AAEE-FBA0C8256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E2CBE4E5-A5C0-4E33-9A35-2D32C374C5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C664C59B-B2F8-474C-B1F6-DDC65C94F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8A8A9161-CFD9-4413-8E4E-40CD732959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98.7268</c:v>
                </c:pt>
                <c:pt idx="1">
                  <c:v>263.1438</c:v>
                </c:pt>
              </c:numCache>
            </c:numRef>
          </c:xVal>
          <c:yVal>
            <c:numRef>
              <c:f>Sheet1!$B$2:$B$3</c:f>
              <c:numCache>
                <c:formatCode>General</c:formatCode>
                <c:ptCount val="2"/>
                <c:pt idx="0">
                  <c:v>0.97699999999999998</c:v>
                </c:pt>
                <c:pt idx="1">
                  <c:v>1.06</c:v>
                </c:pt>
              </c:numCache>
            </c:numRef>
          </c:yVal>
          <c:bubbleSize>
            <c:numRef>
              <c:f>Sheet1!$C$2:$C$3</c:f>
              <c:numCache>
                <c:formatCode>General</c:formatCode>
                <c:ptCount val="2"/>
                <c:pt idx="0">
                  <c:v>51049534</c:v>
                </c:pt>
                <c:pt idx="1">
                  <c:v>20995979</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6"/>
          <c:min val="15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24AEC3-C9CD-4D48-97A1-81265B82F0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1B9DF90-B8BB-4F4F-92B5-00FE7857D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3045F6D-A4CC-471B-A7C1-0C3E415FC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12C3D55-5D9D-4655-B583-B688106F7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33A77DA-BE0F-4389-8839-7C82EFDF3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2B43752-ED16-439C-BDF2-68B30E574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F2DF924-B524-4829-8456-C19770CF7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4B2D071-84FB-472E-8462-7C2188E5E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47.22380000000001</c:v>
                </c:pt>
              </c:numCache>
            </c:numRef>
          </c:xVal>
          <c:yVal>
            <c:numRef>
              <c:f>Sheet1!$B$2:$B$2</c:f>
              <c:numCache>
                <c:formatCode>General</c:formatCode>
                <c:ptCount val="1"/>
                <c:pt idx="0">
                  <c:v>0.99099999999999999</c:v>
                </c:pt>
              </c:numCache>
            </c:numRef>
          </c:yVal>
          <c:bubbleSize>
            <c:numRef>
              <c:f>Sheet1!$C$2:$C$2</c:f>
              <c:numCache>
                <c:formatCode>General</c:formatCode>
                <c:ptCount val="1"/>
                <c:pt idx="0">
                  <c:v>21721822</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7"/>
          <c:min val="19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9BA22C9-4582-450C-BB6A-5E9A8B9485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851F9C3B-95C3-4437-A1B4-6F8E65D214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75E9B0A8-420F-4A07-80D4-D9F18F2FE4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18C0546B-812E-411D-9D49-D4F385ADCF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7A2FE4A6-2506-4B67-901D-EB43FA404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3FCA53C5-E067-4CF5-BF03-49A947A5D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EDF15623-EE01-49E2-8FAA-5C432C52D8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824A30BF-3071-4048-99BA-636A4AC1B5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3.387</c:v>
                </c:pt>
              </c:numCache>
            </c:numRef>
          </c:xVal>
          <c:yVal>
            <c:numRef>
              <c:f>Sheet1!$B$2:$B$2</c:f>
              <c:numCache>
                <c:formatCode>General</c:formatCode>
                <c:ptCount val="1"/>
                <c:pt idx="0">
                  <c:v>1</c:v>
                </c:pt>
              </c:numCache>
            </c:numRef>
          </c:yVal>
          <c:bubbleSize>
            <c:numRef>
              <c:f>Sheet1!$C$2:$C$2</c:f>
              <c:numCache>
                <c:formatCode>General</c:formatCode>
                <c:ptCount val="1"/>
                <c:pt idx="0">
                  <c:v>1434285</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4"/>
          <c:min val="16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313A7A8-503D-47FC-999C-9F63EA046C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071640C-F8DF-4125-9726-05C4E0E055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4AE72AA2-8F6F-408D-966D-91074BFF8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BB72E146-EC5F-49BB-ABA8-A7197828DB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1A278A16-D8EA-4009-9816-14EE4FAD9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9EBB1FB7-CF48-4E0E-9E96-C5E369694D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42776A68-3F56-4936-8435-BF4DC7570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18BFBC76-1AFB-4792-8F2D-905BF8DB1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08.94280000000001</c:v>
                </c:pt>
                <c:pt idx="1">
                  <c:v>393.6909</c:v>
                </c:pt>
                <c:pt idx="2">
                  <c:v>320.19260000000003</c:v>
                </c:pt>
              </c:numCache>
            </c:numRef>
          </c:xVal>
          <c:yVal>
            <c:numRef>
              <c:f>Sheet1!$B$2:$B$4</c:f>
              <c:numCache>
                <c:formatCode>General</c:formatCode>
                <c:ptCount val="3"/>
                <c:pt idx="0">
                  <c:v>0.60199999999999998</c:v>
                </c:pt>
                <c:pt idx="1">
                  <c:v>2.2010000000000001</c:v>
                </c:pt>
                <c:pt idx="2">
                  <c:v>2.2890000000000001</c:v>
                </c:pt>
              </c:numCache>
            </c:numRef>
          </c:yVal>
          <c:bubbleSize>
            <c:numRef>
              <c:f>Sheet1!$C$2:$C$4</c:f>
              <c:numCache>
                <c:formatCode>General</c:formatCode>
                <c:ptCount val="3"/>
                <c:pt idx="0">
                  <c:v>792520</c:v>
                </c:pt>
                <c:pt idx="1">
                  <c:v>599985</c:v>
                </c:pt>
                <c:pt idx="2">
                  <c:v>319232</c:v>
                </c:pt>
              </c:numCache>
            </c:numRef>
          </c:bubbleSize>
          <c:bubble3D val="0"/>
          <c:extLst>
            <c:ext xmlns:c15="http://schemas.microsoft.com/office/drawing/2012/chart" uri="{02D57815-91ED-43cb-92C2-25804820EDAC}">
              <c15:datalabelsRange>
                <c15:f>Sheet1!$E$2:$E$10</c15:f>
                <c15:dlblRangeCache>
                  <c:ptCount val="9"/>
                  <c:pt idx="0">
                    <c:v>Banana Boat</c:v>
                  </c:pt>
                  <c:pt idx="1">
                    <c:v>Australian Gold</c:v>
                  </c:pt>
                  <c:pt idx="2">
                    <c:v>Ocean Potio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2"/>
          <c:min val="16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4EF4E108-E2FC-48A0-9D5D-4C08A89BE6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CA-4C16-90F6-A0D9A3D8DA8E}"/>
                </c:ext>
              </c:extLst>
            </c:dLbl>
            <c:dLbl>
              <c:idx val="2"/>
              <c:tx>
                <c:rich>
                  <a:bodyPr/>
                  <a:lstStyle/>
                  <a:p>
                    <a:fld id="{EEFC535F-5390-4D25-B077-B6BE2E2F9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EDF8D0FD-790F-4AE5-AD88-44952C2175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C426CD87-2BDE-4E40-8AE3-4CBCBA8A2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53A3BE19-BCD6-4C9B-9AEF-C8BD5B69D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2F2F3AE1-5636-4CF5-834A-0921A3628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7A12310D-51E5-4566-AA0C-C21E630327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B74EEC90-09FA-4AAD-94AB-CF7408CEF5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08.55500000000001</c:v>
                </c:pt>
              </c:numCache>
            </c:numRef>
          </c:xVal>
          <c:yVal>
            <c:numRef>
              <c:f>Sheet1!$B$2:$B$2</c:f>
              <c:numCache>
                <c:formatCode>General</c:formatCode>
                <c:ptCount val="1"/>
                <c:pt idx="0">
                  <c:v>1</c:v>
                </c:pt>
              </c:numCache>
            </c:numRef>
          </c:yVal>
          <c:bubbleSize>
            <c:numRef>
              <c:f>Sheet1!$C$2:$C$2</c:f>
              <c:numCache>
                <c:formatCode>General</c:formatCode>
                <c:ptCount val="1"/>
                <c:pt idx="0">
                  <c:v>101711</c:v>
                </c:pt>
              </c:numCache>
            </c:numRef>
          </c:bubbleSize>
          <c:bubble3D val="0"/>
          <c:extLst>
            <c:ext xmlns:c15="http://schemas.microsoft.com/office/drawing/2012/chart" uri="{02D57815-91ED-43cb-92C2-25804820EDAC}">
              <c15:datalabelsRange>
                <c15:f>Sheet1!$E$2:$E$10</c15:f>
                <c15:dlblRangeCache>
                  <c:ptCount val="9"/>
                  <c:pt idx="0">
                    <c:v>Heliocar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10"/>
          <c:min val="40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C1ABCB9A-C322-4271-8BA1-D85B6BB90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93909F5-C440-42C6-A1A2-960C9963F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FDBBB414-94EF-4653-BA5D-25407DCCB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CE71611F-D377-497C-B261-575BA6840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94C5C9F8-1788-42FE-83B3-8A26B8198B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713CCBA7-2619-48F8-AA31-4AE961D125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E5121A65-152D-498B-B65C-05446B9DD2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46E11EC6-D1E5-44CF-8780-8E6E2206B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8.39229999999998</c:v>
                </c:pt>
                <c:pt idx="1">
                  <c:v>245.6242</c:v>
                </c:pt>
                <c:pt idx="2">
                  <c:v>83.281400000000005</c:v>
                </c:pt>
                <c:pt idx="3">
                  <c:v>237.94919999999999</c:v>
                </c:pt>
                <c:pt idx="4">
                  <c:v>76.384600000000006</c:v>
                </c:pt>
                <c:pt idx="5">
                  <c:v>187.7775</c:v>
                </c:pt>
              </c:numCache>
            </c:numRef>
          </c:xVal>
          <c:yVal>
            <c:numRef>
              <c:f>Sheet1!$B$2:$B$7</c:f>
              <c:numCache>
                <c:formatCode>General</c:formatCode>
                <c:ptCount val="6"/>
                <c:pt idx="0">
                  <c:v>1.879</c:v>
                </c:pt>
                <c:pt idx="1">
                  <c:v>0.85599999999999998</c:v>
                </c:pt>
                <c:pt idx="2">
                  <c:v>0.48799999999999999</c:v>
                </c:pt>
                <c:pt idx="3">
                  <c:v>0.79300000000000004</c:v>
                </c:pt>
                <c:pt idx="4">
                  <c:v>0.47099999999999997</c:v>
                </c:pt>
                <c:pt idx="5">
                  <c:v>3.4830000000000001</c:v>
                </c:pt>
              </c:numCache>
            </c:numRef>
          </c:yVal>
          <c:bubbleSize>
            <c:numRef>
              <c:f>Sheet1!$C$2:$C$7</c:f>
              <c:numCache>
                <c:formatCode>General</c:formatCode>
                <c:ptCount val="6"/>
                <c:pt idx="0">
                  <c:v>313276882</c:v>
                </c:pt>
                <c:pt idx="1">
                  <c:v>103052369</c:v>
                </c:pt>
                <c:pt idx="2">
                  <c:v>58602609</c:v>
                </c:pt>
                <c:pt idx="3">
                  <c:v>42331870</c:v>
                </c:pt>
                <c:pt idx="4">
                  <c:v>37943291</c:v>
                </c:pt>
                <c:pt idx="5">
                  <c:v>27380585</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Caribbean Beach</c:v>
                  </c:pt>
                  <c:pt idx="3">
                    <c:v>Banana Boat</c:v>
                  </c:pt>
                  <c:pt idx="4">
                    <c:v>Nuvel</c:v>
                  </c:pt>
                  <c:pt idx="5">
                    <c:v>Garni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0"/>
          <c:min val="6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B677675-580C-487B-AB8A-B8F7B0F18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5C90ED9-892F-49FF-BE30-29665CD613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17FFDF-73BF-47E1-97DD-31BD0D066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71DE30-2497-4792-85BE-FF90E96AD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72A3398-5ADD-469D-A158-F6989D58E2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FEEB4FF-42AA-4A4B-B799-DA64632AB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28979F-6495-45BD-A955-EFF6E88362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BA95F72-56AE-444D-9A64-E72FB979F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8.62180000000001</c:v>
                </c:pt>
                <c:pt idx="1">
                  <c:v>613.25300000000004</c:v>
                </c:pt>
                <c:pt idx="2">
                  <c:v>218.2782</c:v>
                </c:pt>
                <c:pt idx="3">
                  <c:v>581.07939999999996</c:v>
                </c:pt>
                <c:pt idx="4">
                  <c:v>212.268</c:v>
                </c:pt>
                <c:pt idx="5">
                  <c:v>649.51160000000004</c:v>
                </c:pt>
                <c:pt idx="6">
                  <c:v>668.8338</c:v>
                </c:pt>
                <c:pt idx="7">
                  <c:v>207.99539999999999</c:v>
                </c:pt>
              </c:numCache>
            </c:numRef>
          </c:xVal>
          <c:yVal>
            <c:numRef>
              <c:f>Sheet1!$B$2:$B$9</c:f>
              <c:numCache>
                <c:formatCode>General</c:formatCode>
                <c:ptCount val="8"/>
                <c:pt idx="0">
                  <c:v>0.73799999999999999</c:v>
                </c:pt>
                <c:pt idx="1">
                  <c:v>2.8860000000000001</c:v>
                </c:pt>
                <c:pt idx="2">
                  <c:v>0.504</c:v>
                </c:pt>
                <c:pt idx="3">
                  <c:v>4.532</c:v>
                </c:pt>
                <c:pt idx="4">
                  <c:v>0.49199999999999999</c:v>
                </c:pt>
                <c:pt idx="5">
                  <c:v>3.8679999999999999</c:v>
                </c:pt>
                <c:pt idx="6">
                  <c:v>3.4849999999999999</c:v>
                </c:pt>
                <c:pt idx="7">
                  <c:v>1.68</c:v>
                </c:pt>
              </c:numCache>
            </c:numRef>
          </c:yVal>
          <c:bubbleSize>
            <c:numRef>
              <c:f>Sheet1!$C$2:$C$9</c:f>
              <c:numCache>
                <c:formatCode>General</c:formatCode>
                <c:ptCount val="8"/>
                <c:pt idx="0">
                  <c:v>793024766</c:v>
                </c:pt>
                <c:pt idx="1">
                  <c:v>629447145</c:v>
                </c:pt>
                <c:pt idx="2">
                  <c:v>386902988</c:v>
                </c:pt>
                <c:pt idx="3">
                  <c:v>385073783</c:v>
                </c:pt>
                <c:pt idx="4">
                  <c:v>329391699</c:v>
                </c:pt>
                <c:pt idx="5">
                  <c:v>268650336</c:v>
                </c:pt>
                <c:pt idx="6">
                  <c:v>254179570</c:v>
                </c:pt>
                <c:pt idx="7">
                  <c:v>13146973</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La Roche-Posay</c:v>
                  </c:pt>
                  <c:pt idx="4">
                    <c:v>Banana Boat</c:v>
                  </c:pt>
                  <c:pt idx="5">
                    <c:v>Eucerin</c:v>
                  </c:pt>
                  <c:pt idx="6">
                    <c:v>Avene</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03"/>
          <c:min val="16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72E339-DC49-4C51-A7E5-ACD3891DF0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33B2DE-A73C-4B43-AC6B-9EA4E2076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30733F-8F25-4BB7-848D-091ADA2418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336E5BA-9FAB-4C2A-8CD9-F50268E6DF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D159A72-8D40-43EE-897D-0DA286A26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D11EA68-B0AD-4918-9483-99C3A1E17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8789CB2-3CCF-47D0-BA87-3DF58BD40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B2679C-C74B-4687-A7ED-6168252528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0.75120000000001</c:v>
                </c:pt>
                <c:pt idx="1">
                  <c:v>612.90509999999995</c:v>
                </c:pt>
                <c:pt idx="2">
                  <c:v>219.54179999999999</c:v>
                </c:pt>
                <c:pt idx="3">
                  <c:v>589.39139999999998</c:v>
                </c:pt>
                <c:pt idx="4">
                  <c:v>212.96</c:v>
                </c:pt>
                <c:pt idx="5">
                  <c:v>659.04079999999999</c:v>
                </c:pt>
                <c:pt idx="6">
                  <c:v>682.5127</c:v>
                </c:pt>
                <c:pt idx="7">
                  <c:v>208.48599999999999</c:v>
                </c:pt>
              </c:numCache>
            </c:numRef>
          </c:xVal>
          <c:yVal>
            <c:numRef>
              <c:f>Sheet1!$B$2:$B$9</c:f>
              <c:numCache>
                <c:formatCode>General</c:formatCode>
                <c:ptCount val="8"/>
                <c:pt idx="0">
                  <c:v>0.73099999999999998</c:v>
                </c:pt>
                <c:pt idx="1">
                  <c:v>2.7789999999999999</c:v>
                </c:pt>
                <c:pt idx="2">
                  <c:v>0.501</c:v>
                </c:pt>
                <c:pt idx="3">
                  <c:v>4.625</c:v>
                </c:pt>
                <c:pt idx="4">
                  <c:v>0.48899999999999999</c:v>
                </c:pt>
                <c:pt idx="5">
                  <c:v>3.8980000000000001</c:v>
                </c:pt>
                <c:pt idx="6">
                  <c:v>3.4430000000000001</c:v>
                </c:pt>
                <c:pt idx="7">
                  <c:v>1.7370000000000001</c:v>
                </c:pt>
              </c:numCache>
            </c:numRef>
          </c:yVal>
          <c:bubbleSize>
            <c:numRef>
              <c:f>Sheet1!$C$2:$C$9</c:f>
              <c:numCache>
                <c:formatCode>General</c:formatCode>
                <c:ptCount val="8"/>
                <c:pt idx="0">
                  <c:v>726313442</c:v>
                </c:pt>
                <c:pt idx="1">
                  <c:v>560154823</c:v>
                </c:pt>
                <c:pt idx="2">
                  <c:v>374545370</c:v>
                </c:pt>
                <c:pt idx="3">
                  <c:v>354099274</c:v>
                </c:pt>
                <c:pt idx="4">
                  <c:v>315308437</c:v>
                </c:pt>
                <c:pt idx="5">
                  <c:v>246274334</c:v>
                </c:pt>
                <c:pt idx="6">
                  <c:v>224564421</c:v>
                </c:pt>
                <c:pt idx="7">
                  <c:v>12989092</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La Roche-Posay</c:v>
                  </c:pt>
                  <c:pt idx="4">
                    <c:v>Banana Boat</c:v>
                  </c:pt>
                  <c:pt idx="5">
                    <c:v>Eucerin</c:v>
                  </c:pt>
                  <c:pt idx="6">
                    <c:v>Avene</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9"/>
          <c:min val="1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500276-AC12-4175-8614-CC0A08C5D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084555-82AF-484F-89AD-18019D3BE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F16330-485E-4F8A-BCA1-2866A64E8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AD4A8E-7E7B-4E8F-9EB1-D02A7853FA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7A3F70D-26C0-4A50-8FD2-7F419AA56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3D0F785-A9BD-4063-9C2B-2A0F965DB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7BA61AA-E41F-4E37-AEE2-8895199BF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25792B5-2E20-46AD-954B-31EBA3391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21.58029999999997</c:v>
                </c:pt>
                <c:pt idx="1">
                  <c:v>605.30100000000004</c:v>
                </c:pt>
                <c:pt idx="2">
                  <c:v>681.07219999999995</c:v>
                </c:pt>
                <c:pt idx="3">
                  <c:v>711.79589999999996</c:v>
                </c:pt>
                <c:pt idx="4">
                  <c:v>284.08139999999997</c:v>
                </c:pt>
                <c:pt idx="5">
                  <c:v>251.63939999999999</c:v>
                </c:pt>
                <c:pt idx="6">
                  <c:v>194.42529999999999</c:v>
                </c:pt>
                <c:pt idx="7">
                  <c:v>282.38249999999999</c:v>
                </c:pt>
              </c:numCache>
            </c:numRef>
          </c:xVal>
          <c:yVal>
            <c:numRef>
              <c:f>Sheet1!$B$2:$B$9</c:f>
              <c:numCache>
                <c:formatCode>General</c:formatCode>
                <c:ptCount val="8"/>
                <c:pt idx="0">
                  <c:v>1.6619999999999999</c:v>
                </c:pt>
                <c:pt idx="1">
                  <c:v>2.8319999999999999</c:v>
                </c:pt>
                <c:pt idx="2">
                  <c:v>2.4380000000000002</c:v>
                </c:pt>
                <c:pt idx="3">
                  <c:v>2.125</c:v>
                </c:pt>
                <c:pt idx="4">
                  <c:v>0.52900000000000003</c:v>
                </c:pt>
                <c:pt idx="5">
                  <c:v>0.31</c:v>
                </c:pt>
                <c:pt idx="6">
                  <c:v>0.30099999999999999</c:v>
                </c:pt>
                <c:pt idx="7">
                  <c:v>2.8719999999999999</c:v>
                </c:pt>
              </c:numCache>
            </c:numRef>
          </c:yVal>
          <c:bubbleSize>
            <c:numRef>
              <c:f>Sheet1!$C$2:$C$9</c:f>
              <c:numCache>
                <c:formatCode>General</c:formatCode>
                <c:ptCount val="8"/>
                <c:pt idx="0">
                  <c:v>452020654</c:v>
                </c:pt>
                <c:pt idx="1">
                  <c:v>303187392</c:v>
                </c:pt>
                <c:pt idx="2">
                  <c:v>204970054</c:v>
                </c:pt>
                <c:pt idx="3">
                  <c:v>196500511</c:v>
                </c:pt>
                <c:pt idx="4">
                  <c:v>188092032</c:v>
                </c:pt>
                <c:pt idx="5">
                  <c:v>104768549</c:v>
                </c:pt>
                <c:pt idx="6">
                  <c:v>99479662</c:v>
                </c:pt>
                <c:pt idx="7">
                  <c:v>530032</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Eucerin</c:v>
                  </c:pt>
                  <c:pt idx="3">
                    <c:v>Avene</c:v>
                  </c:pt>
                  <c:pt idx="4">
                    <c:v>Nivea</c:v>
                  </c:pt>
                  <c:pt idx="5">
                    <c:v>Hawaiian Tropic</c:v>
                  </c:pt>
                  <c:pt idx="6">
                    <c:v>Banana Boat</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4"/>
          <c:min val="15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BF66EA-B4EB-452F-9C2A-5917300CBA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34F101-0F5E-4360-9F08-3650AF46F4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D6104F7-6859-4615-A031-0984DCC35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759686-10B8-4C03-B8F6-A7841A6D2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D6DAA61-FA0D-4040-BCA5-3897F941E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9ADA697-1DFB-4EF3-A6BD-A498E0AB07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D2D662B-BB3F-4EBA-BC9B-0408E8061C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82111F-F7EC-456E-8F33-B8378DC51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6.23769999999999</c:v>
                </c:pt>
                <c:pt idx="1">
                  <c:v>451.89089999999999</c:v>
                </c:pt>
                <c:pt idx="2">
                  <c:v>209.54249999999999</c:v>
                </c:pt>
                <c:pt idx="3">
                  <c:v>158.24529999999999</c:v>
                </c:pt>
                <c:pt idx="4">
                  <c:v>80.124899999999997</c:v>
                </c:pt>
                <c:pt idx="5">
                  <c:v>96.877300000000005</c:v>
                </c:pt>
                <c:pt idx="6">
                  <c:v>291.05380000000002</c:v>
                </c:pt>
                <c:pt idx="7">
                  <c:v>205.88</c:v>
                </c:pt>
              </c:numCache>
            </c:numRef>
          </c:xVal>
          <c:yVal>
            <c:numRef>
              <c:f>Sheet1!$B$2:$B$9</c:f>
              <c:numCache>
                <c:formatCode>General</c:formatCode>
                <c:ptCount val="8"/>
                <c:pt idx="0">
                  <c:v>1.33</c:v>
                </c:pt>
                <c:pt idx="1">
                  <c:v>3.661</c:v>
                </c:pt>
                <c:pt idx="2">
                  <c:v>0.90200000000000002</c:v>
                </c:pt>
                <c:pt idx="3">
                  <c:v>0.66800000000000004</c:v>
                </c:pt>
                <c:pt idx="4">
                  <c:v>0.49399999999999999</c:v>
                </c:pt>
                <c:pt idx="5">
                  <c:v>0.61699999999999999</c:v>
                </c:pt>
                <c:pt idx="6">
                  <c:v>1.7809999999999999</c:v>
                </c:pt>
                <c:pt idx="7">
                  <c:v>1.3120000000000001</c:v>
                </c:pt>
              </c:numCache>
            </c:numRef>
          </c:yVal>
          <c:bubbleSize>
            <c:numRef>
              <c:f>Sheet1!$C$2:$C$9</c:f>
              <c:numCache>
                <c:formatCode>General</c:formatCode>
                <c:ptCount val="8"/>
                <c:pt idx="0">
                  <c:v>8697512</c:v>
                </c:pt>
                <c:pt idx="1">
                  <c:v>2920119</c:v>
                </c:pt>
                <c:pt idx="2">
                  <c:v>2109674</c:v>
                </c:pt>
                <c:pt idx="3">
                  <c:v>1330843</c:v>
                </c:pt>
                <c:pt idx="4">
                  <c:v>1209966</c:v>
                </c:pt>
                <c:pt idx="5">
                  <c:v>1076307</c:v>
                </c:pt>
                <c:pt idx="6">
                  <c:v>400490</c:v>
                </c:pt>
                <c:pt idx="7">
                  <c:v>5147</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Banana Boat</c:v>
                  </c:pt>
                  <c:pt idx="3">
                    <c:v>Hawaiian Tropic</c:v>
                  </c:pt>
                  <c:pt idx="4">
                    <c:v>Caribbean Beach</c:v>
                  </c:pt>
                  <c:pt idx="5">
                    <c:v>Nuvel</c:v>
                  </c:pt>
                  <c:pt idx="6">
                    <c:v>Eclipsol</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2"/>
          <c:min val="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8649AF-D501-4999-85A2-C779189AE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EF1025-5978-446E-B5CA-9D17118A44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22DBE5-C063-48F7-B0EF-50662342AE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AC1B49-4759-43C6-A774-06CDCE83F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4D143B-BD95-47CF-B3F5-18C6FA5640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FDD5135-4287-464C-9CAC-415A3ECCE9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B42CE29-09BD-4EAB-987C-9CF30E353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07F34CF-4369-455A-A7B5-0856AEEFC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13380000000001</c:v>
                </c:pt>
                <c:pt idx="1">
                  <c:v>209.15610000000001</c:v>
                </c:pt>
                <c:pt idx="2">
                  <c:v>222.7422</c:v>
                </c:pt>
                <c:pt idx="3">
                  <c:v>577.1653</c:v>
                </c:pt>
                <c:pt idx="4">
                  <c:v>289.72449999999998</c:v>
                </c:pt>
                <c:pt idx="5">
                  <c:v>84.481200000000001</c:v>
                </c:pt>
                <c:pt idx="6">
                  <c:v>506.83350000000002</c:v>
                </c:pt>
                <c:pt idx="7">
                  <c:v>206.30250000000001</c:v>
                </c:pt>
              </c:numCache>
            </c:numRef>
          </c:xVal>
          <c:yVal>
            <c:numRef>
              <c:f>Sheet1!$B$2:$B$9</c:f>
              <c:numCache>
                <c:formatCode>General</c:formatCode>
                <c:ptCount val="8"/>
                <c:pt idx="0">
                  <c:v>1.038</c:v>
                </c:pt>
                <c:pt idx="1">
                  <c:v>0.746</c:v>
                </c:pt>
                <c:pt idx="2">
                  <c:v>0.72599999999999998</c:v>
                </c:pt>
                <c:pt idx="3">
                  <c:v>4.18</c:v>
                </c:pt>
                <c:pt idx="4">
                  <c:v>2.0569999999999999</c:v>
                </c:pt>
                <c:pt idx="5">
                  <c:v>0.41599999999999998</c:v>
                </c:pt>
                <c:pt idx="6">
                  <c:v>6.3529999999999998</c:v>
                </c:pt>
                <c:pt idx="7">
                  <c:v>2.5569999999999999</c:v>
                </c:pt>
              </c:numCache>
            </c:numRef>
          </c:yVal>
          <c:bubbleSize>
            <c:numRef>
              <c:f>Sheet1!$C$2:$C$9</c:f>
              <c:numCache>
                <c:formatCode>General</c:formatCode>
                <c:ptCount val="8"/>
                <c:pt idx="0">
                  <c:v>536202668</c:v>
                </c:pt>
                <c:pt idx="1">
                  <c:v>269083052</c:v>
                </c:pt>
                <c:pt idx="2">
                  <c:v>215531333</c:v>
                </c:pt>
                <c:pt idx="3">
                  <c:v>108131910</c:v>
                </c:pt>
                <c:pt idx="4">
                  <c:v>102115148</c:v>
                </c:pt>
                <c:pt idx="5">
                  <c:v>62392994</c:v>
                </c:pt>
                <c:pt idx="6">
                  <c:v>50910918</c:v>
                </c:pt>
                <c:pt idx="7">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71AA01-2ABA-4393-8B23-6F52E5A03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219DD8-4150-4981-B999-568DDB464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06A9D97-A811-4330-9A71-4235FD854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11F2C38-0984-477D-ABE5-11841533C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8A9F56-9CCD-41BF-860D-C2252F130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AE3FF3D-79A6-4E84-AD8D-BFCF63467A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85F141-F4AF-4D5C-855C-EC8FEF3C1F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A4F1CB5-CBF7-4ECF-93BB-5D7582BD2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0.78219999999999</c:v>
                </c:pt>
                <c:pt idx="1">
                  <c:v>613.25300000000004</c:v>
                </c:pt>
                <c:pt idx="2">
                  <c:v>619.50990000000002</c:v>
                </c:pt>
                <c:pt idx="3">
                  <c:v>217.92179999999999</c:v>
                </c:pt>
                <c:pt idx="4">
                  <c:v>219.85040000000001</c:v>
                </c:pt>
                <c:pt idx="5">
                  <c:v>655.54369999999994</c:v>
                </c:pt>
                <c:pt idx="6">
                  <c:v>667.63379999999995</c:v>
                </c:pt>
                <c:pt idx="7">
                  <c:v>207.99539999999999</c:v>
                </c:pt>
              </c:numCache>
            </c:numRef>
          </c:xVal>
          <c:yVal>
            <c:numRef>
              <c:f>Sheet1!$B$2:$B$9</c:f>
              <c:numCache>
                <c:formatCode>General</c:formatCode>
                <c:ptCount val="8"/>
                <c:pt idx="0">
                  <c:v>0.72199999999999998</c:v>
                </c:pt>
                <c:pt idx="1">
                  <c:v>2.7679999999999998</c:v>
                </c:pt>
                <c:pt idx="2">
                  <c:v>4.3280000000000003</c:v>
                </c:pt>
                <c:pt idx="3">
                  <c:v>0.499</c:v>
                </c:pt>
                <c:pt idx="4">
                  <c:v>0.51400000000000001</c:v>
                </c:pt>
                <c:pt idx="5">
                  <c:v>3.7610000000000001</c:v>
                </c:pt>
                <c:pt idx="6">
                  <c:v>3.2250000000000001</c:v>
                </c:pt>
                <c:pt idx="7">
                  <c:v>1.611</c:v>
                </c:pt>
              </c:numCache>
            </c:numRef>
          </c:yVal>
          <c:bubbleSize>
            <c:numRef>
              <c:f>Sheet1!$C$2:$C$9</c:f>
              <c:numCache>
                <c:formatCode>General</c:formatCode>
                <c:ptCount val="8"/>
                <c:pt idx="0">
                  <c:v>778226782</c:v>
                </c:pt>
                <c:pt idx="1">
                  <c:v>629447145</c:v>
                </c:pt>
                <c:pt idx="2">
                  <c:v>364879575</c:v>
                </c:pt>
                <c:pt idx="3">
                  <c:v>349000701</c:v>
                </c:pt>
                <c:pt idx="4">
                  <c:v>303068598</c:v>
                </c:pt>
                <c:pt idx="5">
                  <c:v>263235523</c:v>
                </c:pt>
                <c:pt idx="6">
                  <c:v>228911615</c:v>
                </c:pt>
                <c:pt idx="7">
                  <c:v>13146973</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La Roche-Posay</c:v>
                  </c:pt>
                  <c:pt idx="3">
                    <c:v>Hawaiian Tropic</c:v>
                  </c:pt>
                  <c:pt idx="4">
                    <c:v>Banana Boat</c:v>
                  </c:pt>
                  <c:pt idx="5">
                    <c:v>Eucerin</c:v>
                  </c:pt>
                  <c:pt idx="6">
                    <c:v>Avene</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01"/>
          <c:min val="16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452968A-5DDC-4DAC-9029-4E5253962E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D3D8DB7-B88C-4668-920B-7C189CDE7B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7E5F61-8F46-4D69-8694-B96AB49FC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C08E014-47DD-4642-9DC7-1625F07C11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8E5F903-5992-47A7-8775-F5B03CD57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9396D43-B222-4804-8AAA-DF286558CC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0EC4E9D-80E0-42C8-A9CE-4F60D3DB7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6E9F7D3-0E23-46A6-844D-1539706C80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2.66800000000001</c:v>
                </c:pt>
                <c:pt idx="1">
                  <c:v>612.90509999999995</c:v>
                </c:pt>
                <c:pt idx="2">
                  <c:v>219.12639999999999</c:v>
                </c:pt>
                <c:pt idx="3">
                  <c:v>629.18399999999997</c:v>
                </c:pt>
                <c:pt idx="4">
                  <c:v>220.91210000000001</c:v>
                </c:pt>
                <c:pt idx="5">
                  <c:v>665.37490000000003</c:v>
                </c:pt>
                <c:pt idx="6">
                  <c:v>679.58199999999999</c:v>
                </c:pt>
                <c:pt idx="7">
                  <c:v>208.48599999999999</c:v>
                </c:pt>
              </c:numCache>
            </c:numRef>
          </c:xVal>
          <c:yVal>
            <c:numRef>
              <c:f>Sheet1!$B$2:$B$9</c:f>
              <c:numCache>
                <c:formatCode>General</c:formatCode>
                <c:ptCount val="8"/>
                <c:pt idx="0">
                  <c:v>0.71299999999999997</c:v>
                </c:pt>
                <c:pt idx="1">
                  <c:v>2.6619999999999999</c:v>
                </c:pt>
                <c:pt idx="2">
                  <c:v>0.495</c:v>
                </c:pt>
                <c:pt idx="3">
                  <c:v>4.38</c:v>
                </c:pt>
                <c:pt idx="4">
                  <c:v>0.51200000000000001</c:v>
                </c:pt>
                <c:pt idx="5">
                  <c:v>3.778</c:v>
                </c:pt>
                <c:pt idx="6">
                  <c:v>3.1309999999999998</c:v>
                </c:pt>
                <c:pt idx="7">
                  <c:v>1.6639999999999999</c:v>
                </c:pt>
              </c:numCache>
            </c:numRef>
          </c:yVal>
          <c:bubbleSize>
            <c:numRef>
              <c:f>Sheet1!$C$2:$C$9</c:f>
              <c:numCache>
                <c:formatCode>General</c:formatCode>
                <c:ptCount val="8"/>
                <c:pt idx="0">
                  <c:v>712991219</c:v>
                </c:pt>
                <c:pt idx="1">
                  <c:v>560154823</c:v>
                </c:pt>
                <c:pt idx="2">
                  <c:v>338199514</c:v>
                </c:pt>
                <c:pt idx="3">
                  <c:v>334290507</c:v>
                </c:pt>
                <c:pt idx="4">
                  <c:v>289054849</c:v>
                </c:pt>
                <c:pt idx="5">
                  <c:v>240875045</c:v>
                </c:pt>
                <c:pt idx="6">
                  <c:v>199973121</c:v>
                </c:pt>
                <c:pt idx="7">
                  <c:v>12989092</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La Roche-Posay</c:v>
                  </c:pt>
                  <c:pt idx="4">
                    <c:v>Banana Boat</c:v>
                  </c:pt>
                  <c:pt idx="5">
                    <c:v>Eucerin</c:v>
                  </c:pt>
                  <c:pt idx="6">
                    <c:v>Avene</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5"/>
          <c:min val="1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8B155E-923D-4811-ADCE-05D4A01C31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8E657C3-4F80-494E-BE37-5622A3F771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A9E8A5-CF4F-4FAC-A78F-C779DB0AF8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18DD230-4963-475F-9BDF-E90DE57E1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DB22F13-EE4B-464A-9800-3C59FDB8B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A239FCC-6223-49ED-A238-531087C9B7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97100E3-1543-4639-BB38-8DFD0ED9D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3832997-9DCE-41D8-BD53-7F4D940BC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21.58029999999997</c:v>
                </c:pt>
                <c:pt idx="1">
                  <c:v>640.02089999999998</c:v>
                </c:pt>
                <c:pt idx="2">
                  <c:v>685.56870000000004</c:v>
                </c:pt>
                <c:pt idx="3">
                  <c:v>284.22660000000002</c:v>
                </c:pt>
                <c:pt idx="4">
                  <c:v>702.84829999999999</c:v>
                </c:pt>
                <c:pt idx="5">
                  <c:v>251.89150000000001</c:v>
                </c:pt>
                <c:pt idx="6">
                  <c:v>204.7139</c:v>
                </c:pt>
                <c:pt idx="7">
                  <c:v>282.38249999999999</c:v>
                </c:pt>
              </c:numCache>
            </c:numRef>
          </c:xVal>
          <c:yVal>
            <c:numRef>
              <c:f>Sheet1!$B$2:$B$9</c:f>
              <c:numCache>
                <c:formatCode>General</c:formatCode>
                <c:ptCount val="8"/>
                <c:pt idx="0">
                  <c:v>1.554</c:v>
                </c:pt>
                <c:pt idx="1">
                  <c:v>2.609</c:v>
                </c:pt>
                <c:pt idx="2">
                  <c:v>2.2949999999999999</c:v>
                </c:pt>
                <c:pt idx="3">
                  <c:v>0.496</c:v>
                </c:pt>
                <c:pt idx="4">
                  <c:v>1.877</c:v>
                </c:pt>
                <c:pt idx="5">
                  <c:v>0.29899999999999999</c:v>
                </c:pt>
                <c:pt idx="6">
                  <c:v>0.33400000000000002</c:v>
                </c:pt>
                <c:pt idx="7">
                  <c:v>2.6850000000000001</c:v>
                </c:pt>
              </c:numCache>
            </c:numRef>
          </c:yVal>
          <c:bubbleSize>
            <c:numRef>
              <c:f>Sheet1!$C$2:$C$9</c:f>
              <c:numCache>
                <c:formatCode>General</c:formatCode>
                <c:ptCount val="8"/>
                <c:pt idx="0">
                  <c:v>452020654</c:v>
                </c:pt>
                <c:pt idx="1">
                  <c:v>289763721</c:v>
                </c:pt>
                <c:pt idx="2">
                  <c:v>201647013</c:v>
                </c:pt>
                <c:pt idx="3">
                  <c:v>187539514</c:v>
                </c:pt>
                <c:pt idx="4">
                  <c:v>176210394</c:v>
                </c:pt>
                <c:pt idx="5">
                  <c:v>91049215</c:v>
                </c:pt>
                <c:pt idx="6">
                  <c:v>83479659</c:v>
                </c:pt>
                <c:pt idx="7">
                  <c:v>530032</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Eucerin</c:v>
                  </c:pt>
                  <c:pt idx="3">
                    <c:v>Nivea</c:v>
                  </c:pt>
                  <c:pt idx="4">
                    <c:v>Avene</c:v>
                  </c:pt>
                  <c:pt idx="5">
                    <c:v>Hawaiian Tropic</c:v>
                  </c:pt>
                  <c:pt idx="6">
                    <c:v>Banana Boat</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3"/>
          <c:min val="1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84B4B8A-AF73-4206-9BE4-C6C0B77A1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603C4EA-DBA6-40D7-8035-1795BBAF1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0A05BF-D5FB-4E1C-B1E8-A48DA81F26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A4E30F-F9B9-4B13-B478-2D4E8A644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D409EE-5502-47A7-B9AF-D0FA04D6F1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9A4D85C-573D-47A4-9F37-853233185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8E52A06-9E89-4961-871E-4B72C9012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FA59D7C-930B-474C-AC37-B8491BC215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6.6892</c:v>
                </c:pt>
                <c:pt idx="1">
                  <c:v>451.89089999999999</c:v>
                </c:pt>
                <c:pt idx="2">
                  <c:v>209.54249999999999</c:v>
                </c:pt>
                <c:pt idx="3">
                  <c:v>80.124899999999997</c:v>
                </c:pt>
                <c:pt idx="4">
                  <c:v>96.877300000000005</c:v>
                </c:pt>
                <c:pt idx="5">
                  <c:v>173.3228</c:v>
                </c:pt>
                <c:pt idx="6">
                  <c:v>291.05380000000002</c:v>
                </c:pt>
                <c:pt idx="7">
                  <c:v>205.88</c:v>
                </c:pt>
              </c:numCache>
            </c:numRef>
          </c:xVal>
          <c:yVal>
            <c:numRef>
              <c:f>Sheet1!$B$2:$B$9</c:f>
              <c:numCache>
                <c:formatCode>General</c:formatCode>
                <c:ptCount val="8"/>
                <c:pt idx="0">
                  <c:v>1.3069999999999999</c:v>
                </c:pt>
                <c:pt idx="1">
                  <c:v>3.5779999999999998</c:v>
                </c:pt>
                <c:pt idx="2">
                  <c:v>0.88200000000000001</c:v>
                </c:pt>
                <c:pt idx="3">
                  <c:v>0.48299999999999998</c:v>
                </c:pt>
                <c:pt idx="4">
                  <c:v>0.60299999999999998</c:v>
                </c:pt>
                <c:pt idx="5">
                  <c:v>0.80300000000000005</c:v>
                </c:pt>
                <c:pt idx="6">
                  <c:v>1.7410000000000001</c:v>
                </c:pt>
                <c:pt idx="7">
                  <c:v>1.2829999999999999</c:v>
                </c:pt>
              </c:numCache>
            </c:numRef>
          </c:yVal>
          <c:bubbleSize>
            <c:numRef>
              <c:f>Sheet1!$C$2:$C$9</c:f>
              <c:numCache>
                <c:formatCode>General</c:formatCode>
                <c:ptCount val="8"/>
                <c:pt idx="0">
                  <c:v>8663450</c:v>
                </c:pt>
                <c:pt idx="1">
                  <c:v>2920119</c:v>
                </c:pt>
                <c:pt idx="2">
                  <c:v>2109674</c:v>
                </c:pt>
                <c:pt idx="3">
                  <c:v>1209966</c:v>
                </c:pt>
                <c:pt idx="4">
                  <c:v>1076307</c:v>
                </c:pt>
                <c:pt idx="5">
                  <c:v>983087</c:v>
                </c:pt>
                <c:pt idx="6">
                  <c:v>400490</c:v>
                </c:pt>
                <c:pt idx="7">
                  <c:v>5147</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Banana Boat</c:v>
                  </c:pt>
                  <c:pt idx="3">
                    <c:v>Caribbean Beach</c:v>
                  </c:pt>
                  <c:pt idx="4">
                    <c:v>Nuvel</c:v>
                  </c:pt>
                  <c:pt idx="5">
                    <c:v>Hawaiian Tropic</c:v>
                  </c:pt>
                  <c:pt idx="6">
                    <c:v>Eclipsol</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2"/>
          <c:min val="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C92188-68B6-4E23-8455-18808F001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FF4515-9E14-42B7-80DE-E0CC214558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B85C765-09AB-4B0D-8A12-607740A56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F118AD1-2564-4AFD-A3F2-24E7336E4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E5451A-708F-4204-888F-E2B8A0AA3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D1795F8-100A-4FC5-8DC4-7E06DBE5A3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2775E98-552C-4C44-8C3E-8F587009A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43708BB-70C1-4E2C-8702-B1412C5EB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31460000000001</c:v>
                </c:pt>
                <c:pt idx="1">
                  <c:v>209.0821</c:v>
                </c:pt>
                <c:pt idx="2">
                  <c:v>228.26419999999999</c:v>
                </c:pt>
                <c:pt idx="3">
                  <c:v>577.1653</c:v>
                </c:pt>
                <c:pt idx="4">
                  <c:v>291.35789999999997</c:v>
                </c:pt>
                <c:pt idx="5">
                  <c:v>84.787800000000004</c:v>
                </c:pt>
                <c:pt idx="6">
                  <c:v>563.72080000000005</c:v>
                </c:pt>
                <c:pt idx="7">
                  <c:v>206.30250000000001</c:v>
                </c:pt>
              </c:numCache>
            </c:numRef>
          </c:xVal>
          <c:yVal>
            <c:numRef>
              <c:f>Sheet1!$B$2:$B$9</c:f>
              <c:numCache>
                <c:formatCode>General</c:formatCode>
                <c:ptCount val="8"/>
                <c:pt idx="0">
                  <c:v>1.03</c:v>
                </c:pt>
                <c:pt idx="1">
                  <c:v>0.748</c:v>
                </c:pt>
                <c:pt idx="2">
                  <c:v>0.751</c:v>
                </c:pt>
                <c:pt idx="3">
                  <c:v>4.0640000000000001</c:v>
                </c:pt>
                <c:pt idx="4">
                  <c:v>1.9950000000000001</c:v>
                </c:pt>
                <c:pt idx="5">
                  <c:v>0.40899999999999997</c:v>
                </c:pt>
                <c:pt idx="6">
                  <c:v>6.1130000000000004</c:v>
                </c:pt>
                <c:pt idx="7">
                  <c:v>2.4860000000000002</c:v>
                </c:pt>
              </c:numCache>
            </c:numRef>
          </c:yVal>
          <c:bubbleSize>
            <c:numRef>
              <c:f>Sheet1!$C$2:$C$9</c:f>
              <c:numCache>
                <c:formatCode>General</c:formatCode>
                <c:ptCount val="8"/>
                <c:pt idx="0">
                  <c:v>523432960</c:v>
                </c:pt>
                <c:pt idx="1">
                  <c:v>246489415</c:v>
                </c:pt>
                <c:pt idx="2">
                  <c:v>205279552</c:v>
                </c:pt>
                <c:pt idx="3">
                  <c:v>108131910</c:v>
                </c:pt>
                <c:pt idx="4">
                  <c:v>101346207</c:v>
                </c:pt>
                <c:pt idx="5">
                  <c:v>61992752</c:v>
                </c:pt>
                <c:pt idx="6">
                  <c:v>44526055</c:v>
                </c:pt>
                <c:pt idx="7">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CAD45972-3727-4576-991D-01E5753CE2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B367A8F5-9E31-45C7-A76B-18377FB35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6C7080BC-36E2-4C81-9647-9E8888B85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457859E7-FE5F-4986-838B-D5EB699012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35CD46F0-0576-4970-9D0C-B249082D6A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C1484AAA-4312-4DC7-ADAF-2666DD6C35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6A8F0E25-B1D7-4768-8F1F-D8831DE490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28D321E7-C81D-418C-AD19-123CE8413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1935</c:v>
                </c:pt>
              </c:numCache>
            </c:numRef>
          </c:xVal>
          <c:yVal>
            <c:numRef>
              <c:f>Sheet1!$B$2:$B$2</c:f>
              <c:numCache>
                <c:formatCode>General</c:formatCode>
                <c:ptCount val="1"/>
                <c:pt idx="0">
                  <c:v>1</c:v>
                </c:pt>
              </c:numCache>
            </c:numRef>
          </c:yVal>
          <c:bubbleSize>
            <c:numRef>
              <c:f>Sheet1!$C$2:$C$2</c:f>
              <c:numCache>
                <c:formatCode>General</c:formatCode>
                <c:ptCount val="1"/>
                <c:pt idx="0">
                  <c:v>14208</c:v>
                </c:pt>
              </c:numCache>
            </c:numRef>
          </c:bubbleSize>
          <c:bubble3D val="0"/>
          <c:extLst>
            <c:ext xmlns:c15="http://schemas.microsoft.com/office/drawing/2012/chart" uri="{02D57815-91ED-43cb-92C2-25804820EDAC}">
              <c15:datalabelsRange>
                <c15:f>Sheet1!$E$2:$E$10</c15:f>
                <c15:dlblRangeCache>
                  <c:ptCount val="9"/>
                  <c:pt idx="0">
                    <c:v>Hawaiian Tropic</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84AD7A-1750-4C0E-9D46-573D35AE5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74A8E5C-085A-4173-9FB9-9DE2965B4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BF2C4D0-5900-40B2-BBE0-42C7B8E25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302DA19-3947-43D3-B970-8FC4B6D2A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0FC0509-7940-491F-9598-3223B0E50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B704D15-946E-4391-A67D-15AD38404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DAA43B5-5219-4BF6-9A00-F1B2E90697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F8A86AA-0F80-4829-B4EF-FB8AE3B1F0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95.63639999999998</c:v>
                </c:pt>
              </c:numCache>
            </c:numRef>
          </c:xVal>
          <c:yVal>
            <c:numRef>
              <c:f>Sheet1!$B$2:$B$2</c:f>
              <c:numCache>
                <c:formatCode>General</c:formatCode>
                <c:ptCount val="1"/>
                <c:pt idx="0">
                  <c:v>2.5670000000000002</c:v>
                </c:pt>
              </c:numCache>
            </c:numRef>
          </c:yVal>
          <c:bubbleSize>
            <c:numRef>
              <c:f>Sheet1!$C$2:$C$2</c:f>
              <c:numCache>
                <c:formatCode>General</c:formatCode>
                <c:ptCount val="1"/>
                <c:pt idx="0">
                  <c:v>21760</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5"/>
          <c:min val="31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D168C1F-60A0-4563-B838-023E5EF43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E4029E-9B37-4657-B267-64A8D7000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4930E2D-95A2-41B6-90D6-3214E5454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C0C430-F82A-4342-B5E8-4AE365E25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1A87C65-523A-4F57-9102-41B4246B6E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2637645-3CF0-41E3-A5E3-E2D4A21FF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044AB6A-D07D-4549-BE36-355A1626F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4B8A7C5-FA6F-491C-B5B3-5481C9F44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8.39229999999998</c:v>
                </c:pt>
                <c:pt idx="1">
                  <c:v>245.6242</c:v>
                </c:pt>
                <c:pt idx="2">
                  <c:v>83.281400000000005</c:v>
                </c:pt>
                <c:pt idx="3">
                  <c:v>237.94919999999999</c:v>
                </c:pt>
                <c:pt idx="4">
                  <c:v>76.384600000000006</c:v>
                </c:pt>
                <c:pt idx="5">
                  <c:v>187.7775</c:v>
                </c:pt>
              </c:numCache>
            </c:numRef>
          </c:xVal>
          <c:yVal>
            <c:numRef>
              <c:f>Sheet1!$B$2:$B$7</c:f>
              <c:numCache>
                <c:formatCode>General</c:formatCode>
                <c:ptCount val="6"/>
                <c:pt idx="0">
                  <c:v>1.879</c:v>
                </c:pt>
                <c:pt idx="1">
                  <c:v>0.85599999999999998</c:v>
                </c:pt>
                <c:pt idx="2">
                  <c:v>0.48799999999999999</c:v>
                </c:pt>
                <c:pt idx="3">
                  <c:v>0.79300000000000004</c:v>
                </c:pt>
                <c:pt idx="4">
                  <c:v>0.47099999999999997</c:v>
                </c:pt>
                <c:pt idx="5">
                  <c:v>3.4830000000000001</c:v>
                </c:pt>
              </c:numCache>
            </c:numRef>
          </c:yVal>
          <c:bubbleSize>
            <c:numRef>
              <c:f>Sheet1!$C$2:$C$7</c:f>
              <c:numCache>
                <c:formatCode>General</c:formatCode>
                <c:ptCount val="6"/>
                <c:pt idx="0">
                  <c:v>313276882</c:v>
                </c:pt>
                <c:pt idx="1">
                  <c:v>103052369</c:v>
                </c:pt>
                <c:pt idx="2">
                  <c:v>58602609</c:v>
                </c:pt>
                <c:pt idx="3">
                  <c:v>42331870</c:v>
                </c:pt>
                <c:pt idx="4">
                  <c:v>37943291</c:v>
                </c:pt>
                <c:pt idx="5">
                  <c:v>27380585</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Caribbean Beach</c:v>
                  </c:pt>
                  <c:pt idx="3">
                    <c:v>Banana Boat</c:v>
                  </c:pt>
                  <c:pt idx="4">
                    <c:v>Nuvel</c:v>
                  </c:pt>
                  <c:pt idx="5">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0"/>
          <c:min val="6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23338A-B065-4E74-8A9C-A0987C30F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4A8E695C-F10C-4A98-8163-F1E460BF4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785F352-B52D-4BF2-AECF-ED18EC806B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ECFAA72-D11F-4357-92C8-B52B614A4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6433D45-F9FF-4524-A322-2490F95EB7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6DC692C-9624-4C08-9863-F0E7D03E54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41C14FA-3E2D-471D-998B-52223CEDC8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9716539-AA88-4CB4-9637-C2FD36C4C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1935</c:v>
                </c:pt>
              </c:numCache>
            </c:numRef>
          </c:xVal>
          <c:yVal>
            <c:numRef>
              <c:f>Sheet1!$B$2:$B$2</c:f>
              <c:numCache>
                <c:formatCode>General</c:formatCode>
                <c:ptCount val="1"/>
                <c:pt idx="0">
                  <c:v>1</c:v>
                </c:pt>
              </c:numCache>
            </c:numRef>
          </c:yVal>
          <c:bubbleSize>
            <c:numRef>
              <c:f>Sheet1!$C$2:$C$2</c:f>
              <c:numCache>
                <c:formatCode>General</c:formatCode>
                <c:ptCount val="1"/>
                <c:pt idx="0">
                  <c:v>14208</c:v>
                </c:pt>
              </c:numCache>
            </c:numRef>
          </c:bubbleSize>
          <c:bubble3D val="0"/>
          <c:extLst>
            <c:ext xmlns:c15="http://schemas.microsoft.com/office/drawing/2012/chart" uri="{02D57815-91ED-43cb-92C2-25804820EDAC}">
              <c15:datalabelsRange>
                <c15:f>Sheet1!$E$2:$E$10</c15:f>
                <c15:dlblRangeCache>
                  <c:ptCount val="9"/>
                  <c:pt idx="0">
                    <c:v>Hawaiian Trop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ACDD03-0ED0-4DE8-9BF3-5514AFF64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6D01A8D-3B18-43CF-A383-064C2120A3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2CA640D-F1F6-4B1E-96C4-E11A36CDA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0F3F54E-E3B0-430A-B705-74666F6EC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F5F7FAC-20AD-468B-8014-0C5494A3C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1C38BAA-61ED-408C-B3EA-C587F1C601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1E6EFAF-ACB1-40C2-B261-DCD682E360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1E6DE95-231F-4702-ABCA-F66AFE2131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61.5958</c:v>
                </c:pt>
                <c:pt idx="1">
                  <c:v>270.21260000000001</c:v>
                </c:pt>
              </c:numCache>
            </c:numRef>
          </c:xVal>
          <c:yVal>
            <c:numRef>
              <c:f>Sheet1!$B$2:$B$3</c:f>
              <c:numCache>
                <c:formatCode>General</c:formatCode>
                <c:ptCount val="2"/>
                <c:pt idx="0">
                  <c:v>1.006</c:v>
                </c:pt>
                <c:pt idx="1">
                  <c:v>0.85699999999999998</c:v>
                </c:pt>
              </c:numCache>
            </c:numRef>
          </c:yVal>
          <c:bubbleSize>
            <c:numRef>
              <c:f>Sheet1!$C$2:$C$3</c:f>
              <c:numCache>
                <c:formatCode>General</c:formatCode>
                <c:ptCount val="2"/>
                <c:pt idx="0">
                  <c:v>16500156</c:v>
                </c:pt>
                <c:pt idx="1">
                  <c:v>714442</c:v>
                </c:pt>
              </c:numCache>
            </c:numRef>
          </c:bubbleSize>
          <c:bubble3D val="0"/>
          <c:extLst>
            <c:ext xmlns:c15="http://schemas.microsoft.com/office/drawing/2012/chart" uri="{02D57815-91ED-43cb-92C2-25804820EDAC}">
              <c15:datalabelsRange>
                <c15:f>Sheet1!$E$2:$E$10</c15:f>
                <c15:dlblRangeCache>
                  <c:ptCount val="9"/>
                  <c:pt idx="0">
                    <c:v>Nivea</c:v>
                  </c:pt>
                  <c:pt idx="1">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4"/>
          <c:min val="20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D802B5-1A79-48B9-8824-0E0EA309A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DA5406B-5176-4194-8D00-8A1EC1CE4A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686CE55-39B1-4F34-B244-983587432C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EE6EA95-2D1F-4016-940A-EAC01DA424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8EB8C43-3DF2-40A7-8F3B-EBF6B1747F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DFA14F0-D6A5-40C6-A861-765890962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90B20F1-0AAF-49E5-8C91-895775515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1221F5E-ED65-4932-8304-FC2041C97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74.8569</c:v>
                </c:pt>
              </c:numCache>
            </c:numRef>
          </c:xVal>
          <c:yVal>
            <c:numRef>
              <c:f>Sheet1!$B$2:$B$2</c:f>
              <c:numCache>
                <c:formatCode>General</c:formatCode>
                <c:ptCount val="1"/>
                <c:pt idx="0">
                  <c:v>0.997</c:v>
                </c:pt>
              </c:numCache>
            </c:numRef>
          </c:yVal>
          <c:bubbleSize>
            <c:numRef>
              <c:f>Sheet1!$C$2:$C$2</c:f>
              <c:numCache>
                <c:formatCode>General</c:formatCode>
                <c:ptCount val="1"/>
                <c:pt idx="0">
                  <c:v>129845148</c:v>
                </c:pt>
              </c:numCache>
            </c:numRef>
          </c:bubbleSize>
          <c:bubble3D val="0"/>
          <c:extLst>
            <c:ext xmlns:c15="http://schemas.microsoft.com/office/drawing/2012/chart" uri="{02D57815-91ED-43cb-92C2-25804820EDAC}">
              <c15:datalabelsRange>
                <c15:f>Sheet1!$E$2:$E$10</c15:f>
                <c15:dlblRangeCache>
                  <c:ptCount val="9"/>
                  <c:pt idx="0">
                    <c:v>Nive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0"/>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82F2406-6DDD-47CA-B446-B2AB64C51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4FA45C-198A-47E5-ACAE-D7E9815C9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0569A39-C53A-42D7-A107-1AB87348B8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2C7A78-AF13-4F6A-92DF-B9C7F09F0F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22EFA03-EF7E-4C05-AC21-941AE4FF1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84CA6F2-4EAA-40C4-91CE-242F393DE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FD79261-0138-45CC-8569-B5011FB19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905EC84-15DC-40A2-8A41-35196AB3C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35.20339999999999</c:v>
                </c:pt>
                <c:pt idx="1">
                  <c:v>211.51759999999999</c:v>
                </c:pt>
                <c:pt idx="2">
                  <c:v>168.10589999999999</c:v>
                </c:pt>
                <c:pt idx="3">
                  <c:v>207.99539999999999</c:v>
                </c:pt>
              </c:numCache>
            </c:numRef>
          </c:xVal>
          <c:yVal>
            <c:numRef>
              <c:f>Sheet1!$B$2:$B$5</c:f>
              <c:numCache>
                <c:formatCode>General</c:formatCode>
                <c:ptCount val="4"/>
                <c:pt idx="0">
                  <c:v>0.98599999999999999</c:v>
                </c:pt>
                <c:pt idx="1">
                  <c:v>0.89700000000000002</c:v>
                </c:pt>
                <c:pt idx="2">
                  <c:v>0.89600000000000002</c:v>
                </c:pt>
                <c:pt idx="3">
                  <c:v>2.7839999999999998</c:v>
                </c:pt>
              </c:numCache>
            </c:numRef>
          </c:yVal>
          <c:bubbleSize>
            <c:numRef>
              <c:f>Sheet1!$C$2:$C$5</c:f>
              <c:numCache>
                <c:formatCode>General</c:formatCode>
                <c:ptCount val="4"/>
                <c:pt idx="0">
                  <c:v>318387310</c:v>
                </c:pt>
                <c:pt idx="1">
                  <c:v>168681017</c:v>
                </c:pt>
                <c:pt idx="2">
                  <c:v>73088598</c:v>
                </c:pt>
                <c:pt idx="3">
                  <c:v>13146973</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2"/>
          <c:min val="13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06010D-DA66-4A59-B7B2-8649DD01B7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10517B-7B07-4492-9770-C264D4F78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10B2D7B-1986-4EC9-B657-A24A9EABE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1F6065C-938E-4B2D-BB9F-67ED1F9D22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DE181A2-190F-4416-B32D-5FE452DDF3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EB43580-DD1D-4554-99A1-5446D23467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714506A-A6A0-4276-AEA3-CF48B6E0F3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836BCA0-81B7-4D77-96B4-1ADDE58EA0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62.02730000000003</c:v>
                </c:pt>
                <c:pt idx="1">
                  <c:v>404.45150000000001</c:v>
                </c:pt>
              </c:numCache>
            </c:numRef>
          </c:xVal>
          <c:yVal>
            <c:numRef>
              <c:f>Sheet1!$B$2:$B$3</c:f>
              <c:numCache>
                <c:formatCode>General</c:formatCode>
                <c:ptCount val="2"/>
                <c:pt idx="0">
                  <c:v>0.96699999999999997</c:v>
                </c:pt>
                <c:pt idx="1">
                  <c:v>4.4260000000000002</c:v>
                </c:pt>
              </c:numCache>
            </c:numRef>
          </c:yVal>
          <c:bubbleSize>
            <c:numRef>
              <c:f>Sheet1!$C$2:$C$3</c:f>
              <c:numCache>
                <c:formatCode>General</c:formatCode>
                <c:ptCount val="2"/>
                <c:pt idx="0">
                  <c:v>65122427</c:v>
                </c:pt>
                <c:pt idx="1">
                  <c:v>2967056</c:v>
                </c:pt>
              </c:numCache>
            </c:numRef>
          </c:bubbleSize>
          <c:bubble3D val="0"/>
          <c:extLst>
            <c:ext xmlns:c15="http://schemas.microsoft.com/office/drawing/2012/chart" uri="{02D57815-91ED-43cb-92C2-25804820EDAC}">
              <c15:datalabelsRange>
                <c15:f>Sheet1!$E$2:$E$10</c15:f>
                <c15:dlblRangeCache>
                  <c:ptCount val="9"/>
                  <c:pt idx="0">
                    <c:v>Banana Boat</c:v>
                  </c:pt>
                  <c:pt idx="1">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85"/>
          <c:min val="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469757-3D5D-48BD-A4F6-AB1B44FCA0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E7936C86-D2E5-4161-83AE-80216BA26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286AE8C-CD0F-40ED-BF42-27BB7F5DD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EF925CD-CA5D-4EE0-8AAB-47F7A6123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E0C6EA2-0A1E-40DC-AA7B-72BCEDE2A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82CEE04-E337-4E01-8734-F49E7980C4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7F122A2-F9FB-411F-AEB0-9EAC56B02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A96829F-A081-46F1-B95D-6E6ADF4EE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4.3065</c:v>
                </c:pt>
              </c:numCache>
            </c:numRef>
          </c:xVal>
          <c:yVal>
            <c:numRef>
              <c:f>Sheet1!$B$2:$B$2</c:f>
              <c:numCache>
                <c:formatCode>General</c:formatCode>
                <c:ptCount val="1"/>
                <c:pt idx="0">
                  <c:v>1</c:v>
                </c:pt>
              </c:numCache>
            </c:numRef>
          </c:yVal>
          <c:bubbleSize>
            <c:numRef>
              <c:f>Sheet1!$C$2:$C$2</c:f>
              <c:numCache>
                <c:formatCode>General</c:formatCode>
                <c:ptCount val="1"/>
                <c:pt idx="0">
                  <c:v>1572343</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5"/>
          <c:min val="16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FD00D9-77F2-4DC1-9815-6C7A2A966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CE3F51D-EDEA-4CAE-A478-9A18E47BF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6E2B8BB-688C-4B3E-8EE4-C40802B69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3CB27BD-F8C7-407F-A32D-DC5371482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B558807-5971-4D15-91B4-C402637DF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B2A191D-0DE1-4DE9-A210-5C71AA07C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F2CFA81-08F1-4E90-A15F-FA928301BA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5300E0B-DE4F-40C3-A1D0-ECC9905725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05699999999999</c:v>
                </c:pt>
              </c:numCache>
            </c:numRef>
          </c:xVal>
          <c:yVal>
            <c:numRef>
              <c:f>Sheet1!$B$2:$B$2</c:f>
              <c:numCache>
                <c:formatCode>General</c:formatCode>
                <c:ptCount val="1"/>
                <c:pt idx="0">
                  <c:v>0.93899999999999995</c:v>
                </c:pt>
              </c:numCache>
            </c:numRef>
          </c:yVal>
          <c:bubbleSize>
            <c:numRef>
              <c:f>Sheet1!$C$2:$C$2</c:f>
              <c:numCache>
                <c:formatCode>General</c:formatCode>
                <c:ptCount val="1"/>
                <c:pt idx="0">
                  <c:v>13435038</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8"/>
          <c:min val="17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CFD559-F8CB-4234-B892-259FDAE8D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6211DD-AAED-45F0-B0DC-A12419EB44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06801CD-FD14-4A7A-9A99-AEF61789B5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DE1820-288E-4069-B096-693170E165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4F2D99D-0983-4DA8-A81F-E41BE24C2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92FC585-42D9-436F-9571-A1B5683EA2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7F0EC74-6134-4DB0-AF3B-A1BD93A039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8A5C0B5-381A-4CC6-8B59-16BC3F33C3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63.82780000000002</c:v>
                </c:pt>
                <c:pt idx="1">
                  <c:v>348.69290000000001</c:v>
                </c:pt>
                <c:pt idx="2">
                  <c:v>318.44499999999999</c:v>
                </c:pt>
                <c:pt idx="3">
                  <c:v>398.262</c:v>
                </c:pt>
              </c:numCache>
            </c:numRef>
          </c:xVal>
          <c:yVal>
            <c:numRef>
              <c:f>Sheet1!$B$2:$B$5</c:f>
              <c:numCache>
                <c:formatCode>General</c:formatCode>
                <c:ptCount val="4"/>
                <c:pt idx="0">
                  <c:v>0.58799999999999997</c:v>
                </c:pt>
                <c:pt idx="1">
                  <c:v>2.06</c:v>
                </c:pt>
                <c:pt idx="2">
                  <c:v>2.1360000000000001</c:v>
                </c:pt>
                <c:pt idx="3">
                  <c:v>2.097</c:v>
                </c:pt>
              </c:numCache>
            </c:numRef>
          </c:yVal>
          <c:bubbleSize>
            <c:numRef>
              <c:f>Sheet1!$C$2:$C$5</c:f>
              <c:numCache>
                <c:formatCode>General</c:formatCode>
                <c:ptCount val="4"/>
                <c:pt idx="0">
                  <c:v>2320629</c:v>
                </c:pt>
                <c:pt idx="1">
                  <c:v>2139231</c:v>
                </c:pt>
                <c:pt idx="2">
                  <c:v>871584</c:v>
                </c:pt>
                <c:pt idx="3">
                  <c:v>191564</c:v>
                </c:pt>
              </c:numCache>
            </c:numRef>
          </c:bubbleSize>
          <c:bubble3D val="0"/>
          <c:extLst>
            <c:ext xmlns:c15="http://schemas.microsoft.com/office/drawing/2012/chart" uri="{02D57815-91ED-43cb-92C2-25804820EDAC}">
              <c15:datalabelsRange>
                <c15:f>Sheet1!$E$2:$E$10</c15:f>
                <c15:dlblRangeCache>
                  <c:ptCount val="9"/>
                  <c:pt idx="0">
                    <c:v>Banana Boat</c:v>
                  </c:pt>
                  <c:pt idx="1">
                    <c:v>Australian Gold</c:v>
                  </c:pt>
                  <c:pt idx="2">
                    <c:v>Ocean Potion</c:v>
                  </c:pt>
                  <c:pt idx="3">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8"/>
          <c:min val="2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BCEBAD8E-B218-4104-9F77-25CBD1FF86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EBF86D81-5EF1-4B62-8D91-0B2C9B390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C952C007-BF47-4493-8722-3E02F3D4C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534F98A0-637C-4401-BF8A-4D9A2B508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755003F6-4DF6-42D4-9B69-9BFF859EEA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62432598-3EAC-4508-B820-790A9DBFE7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47204D7D-022E-401B-9DAC-DFBE8D482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9366B892-5646-4DC1-B680-E35488DFF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61.5958</c:v>
                </c:pt>
                <c:pt idx="1">
                  <c:v>270.21260000000001</c:v>
                </c:pt>
              </c:numCache>
            </c:numRef>
          </c:xVal>
          <c:yVal>
            <c:numRef>
              <c:f>Sheet1!$B$2:$B$3</c:f>
              <c:numCache>
                <c:formatCode>General</c:formatCode>
                <c:ptCount val="2"/>
                <c:pt idx="0">
                  <c:v>1.006</c:v>
                </c:pt>
                <c:pt idx="1">
                  <c:v>0.85699999999999998</c:v>
                </c:pt>
              </c:numCache>
            </c:numRef>
          </c:yVal>
          <c:bubbleSize>
            <c:numRef>
              <c:f>Sheet1!$C$2:$C$3</c:f>
              <c:numCache>
                <c:formatCode>General</c:formatCode>
                <c:ptCount val="2"/>
                <c:pt idx="0">
                  <c:v>16500156</c:v>
                </c:pt>
                <c:pt idx="1">
                  <c:v>714442</c:v>
                </c:pt>
              </c:numCache>
            </c:numRef>
          </c:bubbleSize>
          <c:bubble3D val="0"/>
          <c:extLst>
            <c:ext xmlns:c15="http://schemas.microsoft.com/office/drawing/2012/chart" uri="{02D57815-91ED-43cb-92C2-25804820EDAC}">
              <c15:datalabelsRange>
                <c15:f>Sheet1!$E$2:$E$10</c15:f>
                <c15:dlblRangeCache>
                  <c:ptCount val="9"/>
                  <c:pt idx="0">
                    <c:v>Nivea</c:v>
                  </c:pt>
                  <c:pt idx="1">
                    <c:v>Banana Boat</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4"/>
          <c:min val="20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A9E36AB-5521-4460-89D7-982023274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6981B3C-E775-48A8-B1DB-A1DCB8507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D774A96-9F08-49E5-B488-202B279DF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D308B0E-0A0E-45D4-9681-F7B39E2050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55AA3D5-A51D-414F-9D52-96887FFB99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0C4165F-48D5-4D4B-A1B1-97953CD46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FF43F77-3E49-4FCA-BBA0-1D29A64385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2359C5E-0745-40F6-A183-C227EE9F8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50.09210000000002</c:v>
                </c:pt>
              </c:numCache>
            </c:numRef>
          </c:xVal>
          <c:yVal>
            <c:numRef>
              <c:f>Sheet1!$B$2:$B$2</c:f>
              <c:numCache>
                <c:formatCode>General</c:formatCode>
                <c:ptCount val="1"/>
                <c:pt idx="0">
                  <c:v>0.51700000000000002</c:v>
                </c:pt>
              </c:numCache>
            </c:numRef>
          </c:yVal>
          <c:bubbleSize>
            <c:numRef>
              <c:f>Sheet1!$C$2:$C$2</c:f>
              <c:numCache>
                <c:formatCode>General</c:formatCode>
                <c:ptCount val="1"/>
                <c:pt idx="0">
                  <c:v>2161819</c:v>
                </c:pt>
              </c:numCache>
            </c:numRef>
          </c:bubbleSize>
          <c:bubble3D val="0"/>
          <c:extLst>
            <c:ext xmlns:c15="http://schemas.microsoft.com/office/drawing/2012/chart" uri="{02D57815-91ED-43cb-92C2-25804820EDAC}">
              <c15:datalabelsRange>
                <c15:f>Sheet1!$E$2:$E$10</c15:f>
                <c15:dlblRangeCache>
                  <c:ptCount val="9"/>
                  <c:pt idx="0">
                    <c:v>Neutrogen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CBFFB7-A6CA-4A8E-BCE7-D62F959EAF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832F50-B6BB-444C-B30D-B5E900337E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D48BF6C-2C6B-4932-82D4-469AB3BC4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2538F2-88C1-4D8A-A3E4-635CD04B5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EA581CC-8FB4-4915-AA9B-3B319CED8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CAB1CAA-0E6D-482B-9FB9-0A18395CF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5CE91D6-5E1F-4872-B1C3-CF7A9BA1C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B7710A4-487A-470C-A5C2-5DFF256B4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632.50260000000003</c:v>
                </c:pt>
                <c:pt idx="1">
                  <c:v>548.4271</c:v>
                </c:pt>
                <c:pt idx="2">
                  <c:v>681.34450000000004</c:v>
                </c:pt>
                <c:pt idx="3">
                  <c:v>678.15869999999995</c:v>
                </c:pt>
              </c:numCache>
            </c:numRef>
          </c:xVal>
          <c:yVal>
            <c:numRef>
              <c:f>Sheet1!$B$2:$B$5</c:f>
              <c:numCache>
                <c:formatCode>General</c:formatCode>
                <c:ptCount val="4"/>
                <c:pt idx="0">
                  <c:v>0.80900000000000005</c:v>
                </c:pt>
                <c:pt idx="1">
                  <c:v>1.607</c:v>
                </c:pt>
                <c:pt idx="2">
                  <c:v>2.2970000000000002</c:v>
                </c:pt>
                <c:pt idx="3">
                  <c:v>0.86499999999999999</c:v>
                </c:pt>
              </c:numCache>
            </c:numRef>
          </c:yVal>
          <c:bubbleSize>
            <c:numRef>
              <c:f>Sheet1!$C$2:$C$5</c:f>
              <c:numCache>
                <c:formatCode>General</c:formatCode>
                <c:ptCount val="4"/>
                <c:pt idx="0">
                  <c:v>29936346</c:v>
                </c:pt>
                <c:pt idx="1">
                  <c:v>29139577</c:v>
                </c:pt>
                <c:pt idx="2">
                  <c:v>3833244</c:v>
                </c:pt>
                <c:pt idx="3">
                  <c:v>3764459</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Vichy</c:v>
                  </c:pt>
                  <c:pt idx="3">
                    <c:v>Helio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8"/>
          <c:min val="43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761383-864A-4E31-9476-E54DC37498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91AA80F-B2D2-4BDB-89B1-B741292DF2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71AB0E7-F884-479D-9C9E-610C78062E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43A5991-3620-4B60-9562-E0BD1450B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071BBF7-D65B-484A-9CCE-22D4EFD50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D9A0DEB-20D7-4EF3-BA3F-A9E2BC75BA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F2F3B65-5B35-4664-AECA-B097E0A30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D673AA-7321-4F38-8C32-C04C7C017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16.96550000000002</c:v>
                </c:pt>
                <c:pt idx="1">
                  <c:v>652.5068</c:v>
                </c:pt>
                <c:pt idx="2">
                  <c:v>301.11059999999998</c:v>
                </c:pt>
                <c:pt idx="3">
                  <c:v>657.21069999999997</c:v>
                </c:pt>
                <c:pt idx="4">
                  <c:v>692.55909999999994</c:v>
                </c:pt>
                <c:pt idx="5">
                  <c:v>624.06190000000004</c:v>
                </c:pt>
                <c:pt idx="6">
                  <c:v>701.09299999999996</c:v>
                </c:pt>
                <c:pt idx="7">
                  <c:v>731.90039999999999</c:v>
                </c:pt>
              </c:numCache>
            </c:numRef>
          </c:xVal>
          <c:yVal>
            <c:numRef>
              <c:f>Sheet1!$B$2:$B$9</c:f>
              <c:numCache>
                <c:formatCode>General</c:formatCode>
                <c:ptCount val="8"/>
                <c:pt idx="0">
                  <c:v>2.0150000000000001</c:v>
                </c:pt>
                <c:pt idx="1">
                  <c:v>1.214</c:v>
                </c:pt>
                <c:pt idx="2">
                  <c:v>0.53800000000000003</c:v>
                </c:pt>
                <c:pt idx="3">
                  <c:v>1.909</c:v>
                </c:pt>
                <c:pt idx="4">
                  <c:v>1.321</c:v>
                </c:pt>
                <c:pt idx="5">
                  <c:v>2.0430000000000001</c:v>
                </c:pt>
                <c:pt idx="6">
                  <c:v>3.0049999999999999</c:v>
                </c:pt>
                <c:pt idx="7">
                  <c:v>0.84</c:v>
                </c:pt>
              </c:numCache>
            </c:numRef>
          </c:yVal>
          <c:bubbleSize>
            <c:numRef>
              <c:f>Sheet1!$C$2:$C$9</c:f>
              <c:numCache>
                <c:formatCode>General</c:formatCode>
                <c:ptCount val="8"/>
                <c:pt idx="0">
                  <c:v>328173180</c:v>
                </c:pt>
                <c:pt idx="1">
                  <c:v>160863816</c:v>
                </c:pt>
                <c:pt idx="2">
                  <c:v>160839713</c:v>
                </c:pt>
                <c:pt idx="3">
                  <c:v>106499686</c:v>
                </c:pt>
                <c:pt idx="4">
                  <c:v>104277234</c:v>
                </c:pt>
                <c:pt idx="5">
                  <c:v>50723131</c:v>
                </c:pt>
                <c:pt idx="6">
                  <c:v>49077211</c:v>
                </c:pt>
                <c:pt idx="7">
                  <c:v>48649421</c:v>
                </c:pt>
              </c:numCache>
            </c:numRef>
          </c:bubbleSize>
          <c:bubble3D val="0"/>
          <c:extLst>
            <c:ext xmlns:c15="http://schemas.microsoft.com/office/drawing/2012/chart" uri="{02D57815-91ED-43cb-92C2-25804820EDAC}">
              <c15:datalabelsRange>
                <c15:f>Sheet1!$E$2:$E$10</c15:f>
                <c15:dlblRangeCache>
                  <c:ptCount val="9"/>
                  <c:pt idx="0">
                    <c:v>Isdin</c:v>
                  </c:pt>
                  <c:pt idx="1">
                    <c:v>Avene</c:v>
                  </c:pt>
                  <c:pt idx="2">
                    <c:v>Neutrogena</c:v>
                  </c:pt>
                  <c:pt idx="3">
                    <c:v>La Roche-Posay</c:v>
                  </c:pt>
                  <c:pt idx="4">
                    <c:v>Eucerin</c:v>
                  </c:pt>
                  <c:pt idx="5">
                    <c:v>Heliocare</c:v>
                  </c:pt>
                  <c:pt idx="6">
                    <c:v>Photoderm</c:v>
                  </c:pt>
                  <c:pt idx="7">
                    <c:v>Vich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8"/>
          <c:min val="24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8FCBF3F-C356-405F-8754-68506C42D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02FE7E2-0D40-42D2-9F47-073B3DCA3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7F89E6-4D8F-40C2-BEA6-430D87D180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F16D7F9-B9BA-42CA-A425-E0F7F0DEB6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4130F83-A610-4D14-B1F0-666741D5DC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E49B76C-AEC2-4704-BB98-969EDCFBC7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9DB97EE-35AF-4722-B658-F86AE0A56A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504CE89-E253-4B84-9EF6-4FA47AE97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14.13599999999997</c:v>
                </c:pt>
                <c:pt idx="1">
                  <c:v>645.86260000000004</c:v>
                </c:pt>
                <c:pt idx="2">
                  <c:v>726.0145</c:v>
                </c:pt>
                <c:pt idx="3">
                  <c:v>646.51089999999999</c:v>
                </c:pt>
                <c:pt idx="4">
                  <c:v>592.42269999999996</c:v>
                </c:pt>
                <c:pt idx="5">
                  <c:v>581.06089999999995</c:v>
                </c:pt>
              </c:numCache>
            </c:numRef>
          </c:xVal>
          <c:yVal>
            <c:numRef>
              <c:f>Sheet1!$B$2:$B$7</c:f>
              <c:numCache>
                <c:formatCode>General</c:formatCode>
                <c:ptCount val="6"/>
                <c:pt idx="0">
                  <c:v>0.94399999999999995</c:v>
                </c:pt>
                <c:pt idx="1">
                  <c:v>0.996</c:v>
                </c:pt>
                <c:pt idx="2">
                  <c:v>1.2</c:v>
                </c:pt>
                <c:pt idx="3">
                  <c:v>0.996</c:v>
                </c:pt>
                <c:pt idx="4">
                  <c:v>0.91100000000000003</c:v>
                </c:pt>
                <c:pt idx="5">
                  <c:v>1.149</c:v>
                </c:pt>
              </c:numCache>
            </c:numRef>
          </c:yVal>
          <c:bubbleSize>
            <c:numRef>
              <c:f>Sheet1!$C$2:$C$7</c:f>
              <c:numCache>
                <c:formatCode>General</c:formatCode>
                <c:ptCount val="6"/>
                <c:pt idx="0">
                  <c:v>147422120</c:v>
                </c:pt>
                <c:pt idx="1">
                  <c:v>96362699</c:v>
                </c:pt>
                <c:pt idx="2">
                  <c:v>58831861</c:v>
                </c:pt>
                <c:pt idx="3">
                  <c:v>26462337</c:v>
                </c:pt>
                <c:pt idx="4">
                  <c:v>21888242</c:v>
                </c:pt>
                <c:pt idx="5">
                  <c:v>18933868</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Heliocare</c:v>
                  </c:pt>
                  <c:pt idx="4">
                    <c:v>Eucerin</c:v>
                  </c:pt>
                  <c:pt idx="5">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1"/>
          <c:min val="46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7E021F-FC8A-49D6-94D8-61C4C0731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AFDAA5-9105-49C0-86AD-FE237A8A0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BD6B79-287B-4D38-BA65-BBB3AB758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0DB2735-84CA-49B6-ADAE-6A653D780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A551B87-17F3-41E5-9B83-761FF5A537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05C341-CA07-4571-A534-D23695ED56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F1C0940-3D49-444C-900D-1C9CE08743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63A437D-9F5C-4091-AC03-75BA99678C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27.3288</c:v>
                </c:pt>
                <c:pt idx="1">
                  <c:v>623.38030000000003</c:v>
                </c:pt>
                <c:pt idx="2">
                  <c:v>577.38869999999997</c:v>
                </c:pt>
                <c:pt idx="3">
                  <c:v>646.18470000000002</c:v>
                </c:pt>
                <c:pt idx="4">
                  <c:v>721.47519999999997</c:v>
                </c:pt>
                <c:pt idx="5">
                  <c:v>495.24310000000003</c:v>
                </c:pt>
              </c:numCache>
            </c:numRef>
          </c:xVal>
          <c:yVal>
            <c:numRef>
              <c:f>Sheet1!$B$2:$B$7</c:f>
              <c:numCache>
                <c:formatCode>General</c:formatCode>
                <c:ptCount val="6"/>
                <c:pt idx="0">
                  <c:v>0.498</c:v>
                </c:pt>
                <c:pt idx="1">
                  <c:v>2.4279999999999999</c:v>
                </c:pt>
                <c:pt idx="2">
                  <c:v>2.2370000000000001</c:v>
                </c:pt>
                <c:pt idx="3">
                  <c:v>2.12</c:v>
                </c:pt>
                <c:pt idx="4">
                  <c:v>3.6</c:v>
                </c:pt>
                <c:pt idx="5">
                  <c:v>0.96799999999999997</c:v>
                </c:pt>
              </c:numCache>
            </c:numRef>
          </c:yVal>
          <c:bubbleSize>
            <c:numRef>
              <c:f>Sheet1!$C$2:$C$7</c:f>
              <c:numCache>
                <c:formatCode>General</c:formatCode>
                <c:ptCount val="6"/>
                <c:pt idx="0">
                  <c:v>112770510</c:v>
                </c:pt>
                <c:pt idx="1">
                  <c:v>91754106</c:v>
                </c:pt>
                <c:pt idx="2">
                  <c:v>61804261</c:v>
                </c:pt>
                <c:pt idx="3">
                  <c:v>23401579</c:v>
                </c:pt>
                <c:pt idx="4">
                  <c:v>13728230</c:v>
                </c:pt>
                <c:pt idx="5">
                  <c:v>6321283</c:v>
                </c:pt>
              </c:numCache>
            </c:numRef>
          </c:bubbleSize>
          <c:bubble3D val="0"/>
          <c:extLst>
            <c:ext xmlns:c15="http://schemas.microsoft.com/office/drawing/2012/chart" uri="{02D57815-91ED-43cb-92C2-25804820EDAC}">
              <c15:datalabelsRange>
                <c15:f>Sheet1!$E$2:$E$10</c15:f>
                <c15:dlblRangeCache>
                  <c:ptCount val="9"/>
                  <c:pt idx="0">
                    <c:v>Isdin</c:v>
                  </c:pt>
                  <c:pt idx="1">
                    <c:v>Eucerin</c:v>
                  </c:pt>
                  <c:pt idx="2">
                    <c:v>La Roche-Posay</c:v>
                  </c:pt>
                  <c:pt idx="3">
                    <c:v>Heliocare</c:v>
                  </c:pt>
                  <c:pt idx="4">
                    <c:v>Photoderm</c:v>
                  </c:pt>
                  <c:pt idx="5">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6"/>
          <c:min val="39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FF252A-DEDD-4406-BF67-0E9EDC816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0B821C-0C37-457F-9215-2FDEB0CD7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3F5CCC2-D8DC-44E0-8ACD-2EE169D46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2CB3B6D-3EBA-4BE9-B00B-195BA9D0B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806395A-A913-43CB-8E54-2D19DB344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A2BA37E-A2C5-4B86-B239-4FA0EAAC40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35F4288-36B3-45CF-8457-2CD3E4E295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22936B6-39BA-4CA8-A46A-FAFBF5A1E5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78.49900000000002</c:v>
                </c:pt>
                <c:pt idx="1">
                  <c:v>788.79700000000003</c:v>
                </c:pt>
              </c:numCache>
            </c:numRef>
          </c:xVal>
          <c:yVal>
            <c:numRef>
              <c:f>Sheet1!$B$2:$B$3</c:f>
              <c:numCache>
                <c:formatCode>General</c:formatCode>
                <c:ptCount val="2"/>
                <c:pt idx="0">
                  <c:v>0.90100000000000002</c:v>
                </c:pt>
                <c:pt idx="1">
                  <c:v>2.1040000000000001</c:v>
                </c:pt>
              </c:numCache>
            </c:numRef>
          </c:yVal>
          <c:bubbleSize>
            <c:numRef>
              <c:f>Sheet1!$C$2:$C$3</c:f>
              <c:numCache>
                <c:formatCode>General</c:formatCode>
                <c:ptCount val="2"/>
                <c:pt idx="0">
                  <c:v>34963731</c:v>
                </c:pt>
                <c:pt idx="1">
                  <c:v>7290851</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7"/>
          <c:min val="54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7EADA4-951E-4A01-A61A-5F447E695C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EEE7B5-3174-416C-BB20-F12977ECA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EEC85A8-2C20-4FDF-BAAC-45313AEDC0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78D5E3-5C21-44A0-AF1E-7C66132B9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4C43A76-CB9C-42B5-8CDB-D84D02106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15FA0E8-78C8-4969-99EC-5D6EA672F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1E9A258-AB37-4F4E-8666-C221B9E36C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8A61261-E607-444A-BDD3-6A4BE5DB8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57839999999999</c:v>
                </c:pt>
                <c:pt idx="1">
                  <c:v>623.33420000000001</c:v>
                </c:pt>
                <c:pt idx="2">
                  <c:v>744.73800000000006</c:v>
                </c:pt>
                <c:pt idx="3">
                  <c:v>675.7758</c:v>
                </c:pt>
                <c:pt idx="4">
                  <c:v>505.11149999999998</c:v>
                </c:pt>
                <c:pt idx="5">
                  <c:v>594.25900000000001</c:v>
                </c:pt>
                <c:pt idx="6">
                  <c:v>418.52390000000003</c:v>
                </c:pt>
                <c:pt idx="7">
                  <c:v>839.40419999999995</c:v>
                </c:pt>
              </c:numCache>
            </c:numRef>
          </c:xVal>
          <c:yVal>
            <c:numRef>
              <c:f>Sheet1!$B$2:$B$9</c:f>
              <c:numCache>
                <c:formatCode>General</c:formatCode>
                <c:ptCount val="8"/>
                <c:pt idx="0">
                  <c:v>1.2210000000000001</c:v>
                </c:pt>
                <c:pt idx="1">
                  <c:v>1.478</c:v>
                </c:pt>
                <c:pt idx="2">
                  <c:v>1.4079999999999999</c:v>
                </c:pt>
                <c:pt idx="3">
                  <c:v>0.78300000000000003</c:v>
                </c:pt>
                <c:pt idx="4">
                  <c:v>0.78900000000000003</c:v>
                </c:pt>
                <c:pt idx="5">
                  <c:v>0.47899999999999998</c:v>
                </c:pt>
                <c:pt idx="6">
                  <c:v>0.67500000000000004</c:v>
                </c:pt>
                <c:pt idx="7">
                  <c:v>0.84299999999999997</c:v>
                </c:pt>
              </c:numCache>
            </c:numRef>
          </c:yVal>
          <c:bubbleSize>
            <c:numRef>
              <c:f>Sheet1!$C$2:$C$9</c:f>
              <c:numCache>
                <c:formatCode>General</c:formatCode>
                <c:ptCount val="8"/>
                <c:pt idx="0">
                  <c:v>26871382</c:v>
                </c:pt>
                <c:pt idx="1">
                  <c:v>18994862</c:v>
                </c:pt>
                <c:pt idx="2">
                  <c:v>11537481</c:v>
                </c:pt>
                <c:pt idx="3">
                  <c:v>10352210</c:v>
                </c:pt>
                <c:pt idx="4">
                  <c:v>9773403</c:v>
                </c:pt>
                <c:pt idx="5">
                  <c:v>8609624</c:v>
                </c:pt>
                <c:pt idx="6">
                  <c:v>3404692</c:v>
                </c:pt>
                <c:pt idx="7">
                  <c:v>2900981</c:v>
                </c:pt>
              </c:numCache>
            </c:numRef>
          </c:bubbleSize>
          <c:bubble3D val="0"/>
          <c:extLst>
            <c:ext xmlns:c15="http://schemas.microsoft.com/office/drawing/2012/chart" uri="{02D57815-91ED-43cb-92C2-25804820EDAC}">
              <c15:datalabelsRange>
                <c15:f>Sheet1!$E$2:$E$10</c15:f>
                <c15:dlblRangeCache>
                  <c:ptCount val="9"/>
                  <c:pt idx="0">
                    <c:v>Loreal Paris</c:v>
                  </c:pt>
                  <c:pt idx="1">
                    <c:v>Isdin</c:v>
                  </c:pt>
                  <c:pt idx="2">
                    <c:v>La Roche-Posay</c:v>
                  </c:pt>
                  <c:pt idx="3">
                    <c:v>Eucerin</c:v>
                  </c:pt>
                  <c:pt idx="4">
                    <c:v>Cetaphil</c:v>
                  </c:pt>
                  <c:pt idx="5">
                    <c:v>Avene</c:v>
                  </c:pt>
                  <c:pt idx="6">
                    <c:v>Eclipsol</c:v>
                  </c:pt>
                  <c:pt idx="7">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07"/>
          <c:min val="19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3BD141-F6DA-4E34-A389-559459317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33AAF31-79A9-4548-A6E6-D96067A6A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6ABCDE1-B359-4A22-8291-AE05AAE97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DC8319F-E19F-4B82-9BEF-732878051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B0CCE17-D8E1-4848-AABD-A4F0EDB588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1E22BA8-76F6-42FC-A909-FCBA5EE9A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503B5B4-EE8D-4020-8D91-DFEB803954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83F0E04-A6D3-4BFD-A0FD-2FCDD8679C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14.44690000000003</c:v>
                </c:pt>
                <c:pt idx="1">
                  <c:v>287.61689999999999</c:v>
                </c:pt>
                <c:pt idx="2">
                  <c:v>624.47</c:v>
                </c:pt>
              </c:numCache>
            </c:numRef>
          </c:xVal>
          <c:yVal>
            <c:numRef>
              <c:f>Sheet1!$B$2:$B$4</c:f>
              <c:numCache>
                <c:formatCode>General</c:formatCode>
                <c:ptCount val="3"/>
                <c:pt idx="0">
                  <c:v>0.77100000000000002</c:v>
                </c:pt>
                <c:pt idx="1">
                  <c:v>1.331</c:v>
                </c:pt>
                <c:pt idx="2">
                  <c:v>1.23</c:v>
                </c:pt>
              </c:numCache>
            </c:numRef>
          </c:yVal>
          <c:bubbleSize>
            <c:numRef>
              <c:f>Sheet1!$C$2:$C$4</c:f>
              <c:numCache>
                <c:formatCode>General</c:formatCode>
                <c:ptCount val="3"/>
                <c:pt idx="0">
                  <c:v>6626810</c:v>
                </c:pt>
                <c:pt idx="1">
                  <c:v>4484235</c:v>
                </c:pt>
                <c:pt idx="2">
                  <c:v>4388775</c:v>
                </c:pt>
              </c:numCache>
            </c:numRef>
          </c:bubbleSize>
          <c:bubble3D val="0"/>
          <c:extLst>
            <c:ext xmlns:c15="http://schemas.microsoft.com/office/drawing/2012/chart" uri="{02D57815-91ED-43cb-92C2-25804820EDAC}">
              <c15:datalabelsRange>
                <c15:f>Sheet1!$E$2:$E$10</c15:f>
                <c15:dlblRangeCache>
                  <c:ptCount val="9"/>
                  <c:pt idx="0">
                    <c:v>Isdin</c:v>
                  </c:pt>
                  <c:pt idx="1">
                    <c:v>Eclipsol</c:v>
                  </c:pt>
                  <c:pt idx="2">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9"/>
          <c:min val="2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DF4971F-2414-416E-B782-C401747614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8D731C-A774-4AFA-8511-B872E2A90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F93D4A-6B05-4AC8-BD7C-239A6E98E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D623A42-841B-4472-95FB-404437A5EF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63AC3CB-4209-48D5-8AE0-2E4A9BB129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DA5544A-1254-4ACC-9A8D-F0651B1516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A875CC5-0DC0-4FE9-8F9C-36DF0BFD5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2E4B2AC-2C31-4E74-B4FE-8E65685E5E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721.28530000000001</c:v>
                </c:pt>
                <c:pt idx="1">
                  <c:v>975.346</c:v>
                </c:pt>
                <c:pt idx="2">
                  <c:v>605.37639999999999</c:v>
                </c:pt>
              </c:numCache>
            </c:numRef>
          </c:xVal>
          <c:yVal>
            <c:numRef>
              <c:f>Sheet1!$B$2:$B$4</c:f>
              <c:numCache>
                <c:formatCode>General</c:formatCode>
                <c:ptCount val="3"/>
                <c:pt idx="0">
                  <c:v>0.90300000000000002</c:v>
                </c:pt>
                <c:pt idx="1">
                  <c:v>1.6779999999999999</c:v>
                </c:pt>
                <c:pt idx="2">
                  <c:v>1.673</c:v>
                </c:pt>
              </c:numCache>
            </c:numRef>
          </c:yVal>
          <c:bubbleSize>
            <c:numRef>
              <c:f>Sheet1!$C$2:$C$4</c:f>
              <c:numCache>
                <c:formatCode>General</c:formatCode>
                <c:ptCount val="3"/>
                <c:pt idx="0">
                  <c:v>24116173</c:v>
                </c:pt>
                <c:pt idx="1">
                  <c:v>4087675</c:v>
                </c:pt>
                <c:pt idx="2">
                  <c:v>2301641</c:v>
                </c:pt>
              </c:numCache>
            </c:numRef>
          </c:bubbleSize>
          <c:bubble3D val="0"/>
          <c:extLst>
            <c:ext xmlns:c15="http://schemas.microsoft.com/office/drawing/2012/chart" uri="{02D57815-91ED-43cb-92C2-25804820EDAC}">
              <c15:datalabelsRange>
                <c15:f>Sheet1!$E$2:$E$10</c15:f>
                <c15:dlblRangeCache>
                  <c:ptCount val="9"/>
                  <c:pt idx="0">
                    <c:v>Photoderm</c:v>
                  </c:pt>
                  <c:pt idx="1">
                    <c:v>La Roche-Posay</c:v>
                  </c:pt>
                  <c:pt idx="2">
                    <c:v>Genov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70"/>
          <c:min val="48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540723-5686-40B6-9C51-EF3E115A2D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FFF29FC-E9CC-4586-A4B5-B7C2D8332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50ADEB3-C6A2-4459-BE32-4862472C28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604FF83-DF8B-4482-A5B5-32D71BDE32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446B67F-51E4-4B03-87F6-4B7B37E82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16C4FAF-A5BE-493E-AA2E-1A2F24086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C3C3BD7-C9F5-4456-9B58-6DE609212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3E8B193-8903-4F8B-86D2-9C082F9543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75.40699999999998</c:v>
                </c:pt>
              </c:numCache>
            </c:numRef>
          </c:xVal>
          <c:yVal>
            <c:numRef>
              <c:f>Sheet1!$B$2:$B$2</c:f>
              <c:numCache>
                <c:formatCode>General</c:formatCode>
                <c:ptCount val="1"/>
                <c:pt idx="0">
                  <c:v>0.998</c:v>
                </c:pt>
              </c:numCache>
            </c:numRef>
          </c:yVal>
          <c:bubbleSize>
            <c:numRef>
              <c:f>Sheet1!$C$2:$C$2</c:f>
              <c:numCache>
                <c:formatCode>General</c:formatCode>
                <c:ptCount val="1"/>
                <c:pt idx="0">
                  <c:v>36576861</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70"/>
          <c:min val="3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E1C363-AE94-41A8-A0BD-21D61C628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A00672A-C3EB-4B1A-AF9D-B119910AF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7554BF2-BA22-4686-9852-8D272BA4CC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25C4CCD-B48B-4789-8589-E155590617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5AE9072-584F-4FBF-9E70-18B423B99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61AE77B-2D56-4AB5-A4E4-C79A045E4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517889D-F7B1-4FCB-B044-0CA868F50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C5A827E-D33A-45E9-802F-6037C20AE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74.8569</c:v>
                </c:pt>
              </c:numCache>
            </c:numRef>
          </c:xVal>
          <c:yVal>
            <c:numRef>
              <c:f>Sheet1!$B$2:$B$2</c:f>
              <c:numCache>
                <c:formatCode>General</c:formatCode>
                <c:ptCount val="1"/>
                <c:pt idx="0">
                  <c:v>0.997</c:v>
                </c:pt>
              </c:numCache>
            </c:numRef>
          </c:yVal>
          <c:bubbleSize>
            <c:numRef>
              <c:f>Sheet1!$C$2:$C$2</c:f>
              <c:numCache>
                <c:formatCode>General</c:formatCode>
                <c:ptCount val="1"/>
                <c:pt idx="0">
                  <c:v>129845148</c:v>
                </c:pt>
              </c:numCache>
            </c:numRef>
          </c:bubbleSize>
          <c:bubble3D val="0"/>
          <c:extLst>
            <c:ext xmlns:c15="http://schemas.microsoft.com/office/drawing/2012/chart" uri="{02D57815-91ED-43cb-92C2-25804820EDAC}">
              <c15:datalabelsRange>
                <c15:f>Sheet1!$E$2:$E$10</c15:f>
                <c15:dlblRangeCache>
                  <c:ptCount val="9"/>
                  <c:pt idx="0">
                    <c:v>Nive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0"/>
          <c:min val="22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9BBC24-39FE-47BC-96C1-8723EA673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54C0CA1-09D1-49E4-A419-0B6FBD3EAF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735D5DE-1C14-442E-942E-8269B2FA4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7CFB112-51C5-4A43-BFC4-961D5DAAE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641BDD5-0CBA-4D45-ABDC-A4215A152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5E8C76D-8BFF-421F-A263-675728672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3BA59C5-9646-4DED-8230-2F35660B3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4093373-5AF3-49DA-AEF8-73B58E533F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54.5727</c:v>
                </c:pt>
                <c:pt idx="1">
                  <c:v>74.708699999999993</c:v>
                </c:pt>
              </c:numCache>
            </c:numRef>
          </c:xVal>
          <c:yVal>
            <c:numRef>
              <c:f>Sheet1!$B$2:$B$3</c:f>
              <c:numCache>
                <c:formatCode>General</c:formatCode>
                <c:ptCount val="2"/>
                <c:pt idx="0">
                  <c:v>1.2230000000000001</c:v>
                </c:pt>
                <c:pt idx="1">
                  <c:v>0.69299999999999995</c:v>
                </c:pt>
              </c:numCache>
            </c:numRef>
          </c:yVal>
          <c:bubbleSize>
            <c:numRef>
              <c:f>Sheet1!$C$2:$C$3</c:f>
              <c:numCache>
                <c:formatCode>General</c:formatCode>
                <c:ptCount val="2"/>
                <c:pt idx="0">
                  <c:v>53404764</c:v>
                </c:pt>
                <c:pt idx="1">
                  <c:v>20489297</c:v>
                </c:pt>
              </c:numCache>
            </c:numRef>
          </c:bubbleSize>
          <c:bubble3D val="0"/>
          <c:extLst>
            <c:ext xmlns:c15="http://schemas.microsoft.com/office/drawing/2012/chart" uri="{02D57815-91ED-43cb-92C2-25804820EDAC}">
              <c15:datalabelsRange>
                <c15:f>Sheet1!$E$2:$E$10</c15:f>
                <c15:dlblRangeCache>
                  <c:ptCount val="9"/>
                  <c:pt idx="0">
                    <c:v>Banana Boat</c:v>
                  </c:pt>
                  <c:pt idx="1">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5"/>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DEAAE08-31E0-4A6F-B43A-A57C72FDD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5DC4C76-05FD-4C10-A1D9-A7B95D900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196CBEB-5C60-4DCD-95F0-53CE9F6EC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0523496-0A40-4B39-A06C-9F4D9EEC33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B0FD04F-22F9-4641-881E-0E55C34C37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5B767DD-3350-419E-82C4-14D213876B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520CFEC-5AB3-4A63-8FB8-6035FA0943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8C74588-4C1F-4767-B27C-FA9147A4B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01.1328</c:v>
                </c:pt>
                <c:pt idx="1">
                  <c:v>276.9074</c:v>
                </c:pt>
              </c:numCache>
            </c:numRef>
          </c:xVal>
          <c:yVal>
            <c:numRef>
              <c:f>Sheet1!$B$2:$B$3</c:f>
              <c:numCache>
                <c:formatCode>General</c:formatCode>
                <c:ptCount val="2"/>
                <c:pt idx="0">
                  <c:v>0.97399999999999998</c:v>
                </c:pt>
                <c:pt idx="1">
                  <c:v>1.0740000000000001</c:v>
                </c:pt>
              </c:numCache>
            </c:numRef>
          </c:yVal>
          <c:bubbleSize>
            <c:numRef>
              <c:f>Sheet1!$C$2:$C$3</c:f>
              <c:numCache>
                <c:formatCode>General</c:formatCode>
                <c:ptCount val="2"/>
                <c:pt idx="0">
                  <c:v>77253107</c:v>
                </c:pt>
                <c:pt idx="1">
                  <c:v>30236346</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2"/>
          <c:min val="16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FDFF18-CAA3-428C-880C-D9A59AE32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F1240BC-DD82-4FEA-B54A-958B6A329A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DD26F2F-295D-49D4-9863-D537DEBC2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CB1F6AC-2555-4F67-8A45-79A78AEBAA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68156FE-0F5A-4E0A-A467-F75718085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049B9DE-98E2-4883-A272-8E26C7286B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52206C2-8F89-434A-888C-EC8A74301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F119EF9-3F8B-48C6-AC2E-0BBF14C83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90.02770000000001</c:v>
                </c:pt>
              </c:numCache>
            </c:numRef>
          </c:xVal>
          <c:yVal>
            <c:numRef>
              <c:f>Sheet1!$B$2:$B$2</c:f>
              <c:numCache>
                <c:formatCode>General</c:formatCode>
                <c:ptCount val="1"/>
                <c:pt idx="0">
                  <c:v>1.008</c:v>
                </c:pt>
              </c:numCache>
            </c:numRef>
          </c:yVal>
          <c:bubbleSize>
            <c:numRef>
              <c:f>Sheet1!$C$2:$C$2</c:f>
              <c:numCache>
                <c:formatCode>General</c:formatCode>
                <c:ptCount val="1"/>
                <c:pt idx="0">
                  <c:v>31788031</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8"/>
          <c:min val="15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8EE5FC-74D8-4360-85E6-9FAE7B7A9B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E9D1324-3897-40FF-89FF-18FCF84AB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6811D54-0FDA-45EC-B60C-155A0FA32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C2F200C-BE2B-41C9-96AC-EEE414AEA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5F13426-6A0C-46A3-A6C6-A9E819D12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63F4619-5341-4EF2-919B-F4E240F3E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CC654F6-0A3B-46AA-983C-95DFD709A1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6D29DCB-3960-4A4F-98BB-921F7BE51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7.893</c:v>
                </c:pt>
              </c:numCache>
            </c:numRef>
          </c:xVal>
          <c:yVal>
            <c:numRef>
              <c:f>Sheet1!$B$2:$B$2</c:f>
              <c:numCache>
                <c:formatCode>General</c:formatCode>
                <c:ptCount val="1"/>
                <c:pt idx="0">
                  <c:v>1</c:v>
                </c:pt>
              </c:numCache>
            </c:numRef>
          </c:yVal>
          <c:bubbleSize>
            <c:numRef>
              <c:f>Sheet1!$C$2:$C$2</c:f>
              <c:numCache>
                <c:formatCode>General</c:formatCode>
                <c:ptCount val="1"/>
                <c:pt idx="0">
                  <c:v>1674786</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9"/>
          <c:min val="16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6FA251-726B-4C6D-A9A8-6CE41D91F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E19B2D-9C59-40A3-833D-317C34195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4B6ED3-2BDF-44E6-90F8-560BE97E4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476C9EE-7C4C-4901-BA9B-EDD7713C3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C5CBDA5-34C8-4521-B402-5C7CBCD33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187112C-C5DB-4F9F-A37E-D861476BD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04767AB-0D31-4668-BB59-1DFD651F0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8524ABD-6B61-4710-BD87-B60508A8ED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08.25069999999999</c:v>
                </c:pt>
                <c:pt idx="1">
                  <c:v>390.87819999999999</c:v>
                </c:pt>
                <c:pt idx="2">
                  <c:v>316.08710000000002</c:v>
                </c:pt>
              </c:numCache>
            </c:numRef>
          </c:xVal>
          <c:yVal>
            <c:numRef>
              <c:f>Sheet1!$B$2:$B$4</c:f>
              <c:numCache>
                <c:formatCode>General</c:formatCode>
                <c:ptCount val="3"/>
                <c:pt idx="0">
                  <c:v>0.61299999999999999</c:v>
                </c:pt>
                <c:pt idx="1">
                  <c:v>2.3250000000000002</c:v>
                </c:pt>
                <c:pt idx="2">
                  <c:v>2.12</c:v>
                </c:pt>
              </c:numCache>
            </c:numRef>
          </c:yVal>
          <c:bubbleSize>
            <c:numRef>
              <c:f>Sheet1!$C$2:$C$4</c:f>
              <c:numCache>
                <c:formatCode>General</c:formatCode>
                <c:ptCount val="3"/>
                <c:pt idx="0">
                  <c:v>792602</c:v>
                </c:pt>
                <c:pt idx="1">
                  <c:v>599998</c:v>
                </c:pt>
                <c:pt idx="2">
                  <c:v>319248</c:v>
                </c:pt>
              </c:numCache>
            </c:numRef>
          </c:bubbleSize>
          <c:bubble3D val="0"/>
          <c:extLst>
            <c:ext xmlns:c15="http://schemas.microsoft.com/office/drawing/2012/chart" uri="{02D57815-91ED-43cb-92C2-25804820EDAC}">
              <c15:datalabelsRange>
                <c15:f>Sheet1!$E$2:$E$10</c15:f>
                <c15:dlblRangeCache>
                  <c:ptCount val="9"/>
                  <c:pt idx="0">
                    <c:v>Banana Boat</c:v>
                  </c:pt>
                  <c:pt idx="1">
                    <c:v>Australian Gold</c:v>
                  </c:pt>
                  <c:pt idx="2">
                    <c:v>Ocean Po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9"/>
          <c:min val="1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92B11F-F537-4BB3-A62F-DEFFD9ADA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C857B02-85A4-4F93-848C-3C4778355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C54D24F-48DF-4FD8-94AB-E35EDCD53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FDFBB78-0E46-4479-99CD-4BB324E47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BC47BBA-AF35-4C78-A937-DBA5DED43C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FB0C3B8-FB84-4B4B-BF22-4B2E56926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B29F439-4E48-42E7-B447-D14496D95B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2F57897-8FA7-497B-A420-22777A7D6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50.43579999999997</c:v>
                </c:pt>
              </c:numCache>
            </c:numRef>
          </c:xVal>
          <c:yVal>
            <c:numRef>
              <c:f>Sheet1!$B$2:$B$2</c:f>
              <c:numCache>
                <c:formatCode>General</c:formatCode>
                <c:ptCount val="1"/>
                <c:pt idx="0">
                  <c:v>1</c:v>
                </c:pt>
              </c:numCache>
            </c:numRef>
          </c:yVal>
          <c:bubbleSize>
            <c:numRef>
              <c:f>Sheet1!$C$2:$C$2</c:f>
              <c:numCache>
                <c:formatCode>General</c:formatCode>
                <c:ptCount val="1"/>
                <c:pt idx="0">
                  <c:v>12639657</c:v>
                </c:pt>
              </c:numCache>
            </c:numRef>
          </c:bubbleSize>
          <c:bubble3D val="0"/>
          <c:extLst>
            <c:ext xmlns:c15="http://schemas.microsoft.com/office/drawing/2012/chart" uri="{02D57815-91ED-43cb-92C2-25804820EDAC}">
              <c15:datalabelsRange>
                <c15:f>Sheet1!$E$2:$E$10</c15:f>
                <c15:dlblRangeCache>
                  <c:ptCount val="9"/>
                  <c:pt idx="0">
                    <c:v>Helio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1"/>
          <c:min val="4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6B3AE8-0780-43BC-81FD-5CCC73CAE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B0C961F-D5A8-49B6-B562-8BE258B45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0BD6994-CEAA-44EC-9725-4ECADB9F2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4EC1F97-7694-40D8-8384-0C9FF8402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B480484-4256-4886-9741-C454BEC64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1F7127B-F6CB-4A4A-B5E9-EDF9803C85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1932FDA-990B-40A8-B868-3700C6EFE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88AA8CA-BE03-481F-97C5-33D5E0833E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95.63639999999998</c:v>
                </c:pt>
              </c:numCache>
            </c:numRef>
          </c:xVal>
          <c:yVal>
            <c:numRef>
              <c:f>Sheet1!$B$2:$B$2</c:f>
              <c:numCache>
                <c:formatCode>General</c:formatCode>
                <c:ptCount val="1"/>
                <c:pt idx="0">
                  <c:v>2.536</c:v>
                </c:pt>
              </c:numCache>
            </c:numRef>
          </c:yVal>
          <c:bubbleSize>
            <c:numRef>
              <c:f>Sheet1!$C$2:$C$2</c:f>
              <c:numCache>
                <c:formatCode>General</c:formatCode>
                <c:ptCount val="1"/>
                <c:pt idx="0">
                  <c:v>21760</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5"/>
          <c:min val="31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14BB24-A1E0-4AF8-A855-1F07CEEF9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CC050AB-2F9C-490F-8067-F6797D575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EAB5529-B372-4BEA-A010-0EEC5839E3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5701786-662D-48AA-AFB0-57987C9D7A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645DEB3-175E-49ED-BBFA-A2057CFDDC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7444F20-A821-44A4-A69D-62C9228BA7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9507F04-B716-4338-9B51-EAB7EC976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F7DB2AE-21DE-4C35-80F4-D20AD61922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7.71620000000001</c:v>
                </c:pt>
                <c:pt idx="1">
                  <c:v>247.16579999999999</c:v>
                </c:pt>
                <c:pt idx="2">
                  <c:v>84.560900000000004</c:v>
                </c:pt>
                <c:pt idx="3">
                  <c:v>241.02350000000001</c:v>
                </c:pt>
                <c:pt idx="4">
                  <c:v>75.1477</c:v>
                </c:pt>
                <c:pt idx="5">
                  <c:v>188.10210000000001</c:v>
                </c:pt>
              </c:numCache>
            </c:numRef>
          </c:xVal>
          <c:yVal>
            <c:numRef>
              <c:f>Sheet1!$B$2:$B$7</c:f>
              <c:numCache>
                <c:formatCode>General</c:formatCode>
                <c:ptCount val="6"/>
                <c:pt idx="0">
                  <c:v>1.82</c:v>
                </c:pt>
                <c:pt idx="1">
                  <c:v>0.84399999999999997</c:v>
                </c:pt>
                <c:pt idx="2">
                  <c:v>0.47799999999999998</c:v>
                </c:pt>
                <c:pt idx="3">
                  <c:v>0.78500000000000003</c:v>
                </c:pt>
                <c:pt idx="4">
                  <c:v>0.45300000000000001</c:v>
                </c:pt>
                <c:pt idx="5">
                  <c:v>3.4319999999999999</c:v>
                </c:pt>
              </c:numCache>
            </c:numRef>
          </c:yVal>
          <c:bubbleSize>
            <c:numRef>
              <c:f>Sheet1!$C$2:$C$7</c:f>
              <c:numCache>
                <c:formatCode>General</c:formatCode>
                <c:ptCount val="6"/>
                <c:pt idx="0">
                  <c:v>293211158</c:v>
                </c:pt>
                <c:pt idx="1">
                  <c:v>100232388</c:v>
                </c:pt>
                <c:pt idx="2">
                  <c:v>56357441</c:v>
                </c:pt>
                <c:pt idx="3">
                  <c:v>39291884</c:v>
                </c:pt>
                <c:pt idx="4">
                  <c:v>28495790</c:v>
                </c:pt>
                <c:pt idx="5">
                  <c:v>27380143</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Caribbean Beach</c:v>
                  </c:pt>
                  <c:pt idx="3">
                    <c:v>Banana Boat</c:v>
                  </c:pt>
                  <c:pt idx="4">
                    <c:v>Nuvel</c:v>
                  </c:pt>
                  <c:pt idx="5">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9"/>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908BAD-DD3D-45B1-B3EA-0A39BBCBE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492F3FB-AAAC-4750-A9C3-11C762AFFF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8BEF1B9-0692-4BCF-8E02-E7C18AD80A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1B256B4-CD95-4668-99C4-BE515F31E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5D3DE6C-B364-4F66-AB0D-17E7104CC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4AE62E5-E63B-438F-9925-2B0BE704C2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D3AAF50-BDE2-400F-B6DF-35B1D1F4E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ECEF953-B388-41B2-8789-20197E1DA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62.49939999999998</c:v>
                </c:pt>
                <c:pt idx="1">
                  <c:v>272.35610000000003</c:v>
                </c:pt>
              </c:numCache>
            </c:numRef>
          </c:xVal>
          <c:yVal>
            <c:numRef>
              <c:f>Sheet1!$B$2:$B$3</c:f>
              <c:numCache>
                <c:formatCode>General</c:formatCode>
                <c:ptCount val="2"/>
                <c:pt idx="0">
                  <c:v>1.004</c:v>
                </c:pt>
                <c:pt idx="1">
                  <c:v>0.88200000000000001</c:v>
                </c:pt>
              </c:numCache>
            </c:numRef>
          </c:yVal>
          <c:bubbleSize>
            <c:numRef>
              <c:f>Sheet1!$C$2:$C$3</c:f>
              <c:numCache>
                <c:formatCode>General</c:formatCode>
                <c:ptCount val="2"/>
                <c:pt idx="0">
                  <c:v>16499925</c:v>
                </c:pt>
                <c:pt idx="1">
                  <c:v>714390</c:v>
                </c:pt>
              </c:numCache>
            </c:numRef>
          </c:bubbleSize>
          <c:bubble3D val="0"/>
          <c:extLst>
            <c:ext xmlns:c15="http://schemas.microsoft.com/office/drawing/2012/chart" uri="{02D57815-91ED-43cb-92C2-25804820EDAC}">
              <c15:datalabelsRange>
                <c15:f>Sheet1!$E$2:$E$10</c15:f>
                <c15:dlblRangeCache>
                  <c:ptCount val="9"/>
                  <c:pt idx="0">
                    <c:v>Nivea</c:v>
                  </c:pt>
                  <c:pt idx="1">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7"/>
          <c:min val="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AE9912-9548-4331-89C6-DDF9C4F70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013C3B0-FD39-4D23-80BF-CAE60D849F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54440D6-BA77-4B34-A443-996B21E761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E664E11-D86B-4277-899B-A8B690660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E9D7DB4-D054-467E-AC8D-609A72FEBA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C0314AF-09E2-4E63-97C1-39D66FD0A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76B6C4F-63B9-450E-A7F3-6EFDA84CA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9C7BB31-0E70-4475-B434-1AFB32C0D9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74.19709999999998</c:v>
                </c:pt>
              </c:numCache>
            </c:numRef>
          </c:xVal>
          <c:yVal>
            <c:numRef>
              <c:f>Sheet1!$B$2:$B$2</c:f>
              <c:numCache>
                <c:formatCode>General</c:formatCode>
                <c:ptCount val="1"/>
                <c:pt idx="0">
                  <c:v>0.996</c:v>
                </c:pt>
              </c:numCache>
            </c:numRef>
          </c:yVal>
          <c:bubbleSize>
            <c:numRef>
              <c:f>Sheet1!$C$2:$C$2</c:f>
              <c:numCache>
                <c:formatCode>General</c:formatCode>
                <c:ptCount val="1"/>
                <c:pt idx="0">
                  <c:v>121560916</c:v>
                </c:pt>
              </c:numCache>
            </c:numRef>
          </c:bubbleSize>
          <c:bubble3D val="0"/>
          <c:extLst>
            <c:ext xmlns:c15="http://schemas.microsoft.com/office/drawing/2012/chart" uri="{02D57815-91ED-43cb-92C2-25804820EDAC}">
              <c15:datalabelsRange>
                <c15:f>Sheet1!$E$2:$E$10</c15:f>
                <c15:dlblRangeCache>
                  <c:ptCount val="9"/>
                  <c:pt idx="0">
                    <c:v>Nive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2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814C99D-A5D4-4EE9-B5B5-A11162AD6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EF66EB0-7E5A-431E-A278-9DF72453F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5BB933E7-9DF2-47D5-877E-22C92F27FE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5D1CE6E1-72D7-4B92-95F6-18ADB8C168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96788CFC-D1F3-4CC0-A9BD-7B8A15F2E0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D68E9D70-72AD-4B81-8BAA-FC5081A7D7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7D5436BA-9027-4E4A-A395-2F3596A059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A67EEE09-AD33-4FC7-BCBA-47B9039C19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35.20339999999999</c:v>
                </c:pt>
                <c:pt idx="1">
                  <c:v>211.51759999999999</c:v>
                </c:pt>
                <c:pt idx="2">
                  <c:v>168.10589999999999</c:v>
                </c:pt>
                <c:pt idx="3">
                  <c:v>207.99539999999999</c:v>
                </c:pt>
              </c:numCache>
            </c:numRef>
          </c:xVal>
          <c:yVal>
            <c:numRef>
              <c:f>Sheet1!$B$2:$B$5</c:f>
              <c:numCache>
                <c:formatCode>General</c:formatCode>
                <c:ptCount val="4"/>
                <c:pt idx="0">
                  <c:v>0.98599999999999999</c:v>
                </c:pt>
                <c:pt idx="1">
                  <c:v>0.89700000000000002</c:v>
                </c:pt>
                <c:pt idx="2">
                  <c:v>0.89600000000000002</c:v>
                </c:pt>
                <c:pt idx="3">
                  <c:v>2.7839999999999998</c:v>
                </c:pt>
              </c:numCache>
            </c:numRef>
          </c:yVal>
          <c:bubbleSize>
            <c:numRef>
              <c:f>Sheet1!$C$2:$C$5</c:f>
              <c:numCache>
                <c:formatCode>General</c:formatCode>
                <c:ptCount val="4"/>
                <c:pt idx="0">
                  <c:v>318387310</c:v>
                </c:pt>
                <c:pt idx="1">
                  <c:v>168681017</c:v>
                </c:pt>
                <c:pt idx="2">
                  <c:v>73088598</c:v>
                </c:pt>
                <c:pt idx="3">
                  <c:v>13146973</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2"/>
          <c:min val="13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7D1194A-EC86-4385-969D-596CC79FC9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C6D6DA-E4EC-48BF-8300-DB818FCF9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6D1323A-3960-40C6-B0F0-4EE1C46A4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BE9B702-FF28-4EA7-AC1D-707937B4C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BADAE88-B30C-429C-B571-D70C84058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E5F8C57-67FA-4CBE-B607-E9BAD73C4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C69A2E6-8F1C-46D9-9C3A-8DD25FDCD8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74E98DF-8084-4E15-804E-0F2F41AD4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39.16470000000001</c:v>
                </c:pt>
                <c:pt idx="1">
                  <c:v>212.50139999999999</c:v>
                </c:pt>
                <c:pt idx="2">
                  <c:v>167.70750000000001</c:v>
                </c:pt>
                <c:pt idx="3">
                  <c:v>208.48599999999999</c:v>
                </c:pt>
              </c:numCache>
            </c:numRef>
          </c:xVal>
          <c:yVal>
            <c:numRef>
              <c:f>Sheet1!$B$2:$B$5</c:f>
              <c:numCache>
                <c:formatCode>General</c:formatCode>
                <c:ptCount val="4"/>
                <c:pt idx="0">
                  <c:v>0.97799999999999998</c:v>
                </c:pt>
                <c:pt idx="1">
                  <c:v>0.89800000000000002</c:v>
                </c:pt>
                <c:pt idx="2">
                  <c:v>0.90500000000000003</c:v>
                </c:pt>
                <c:pt idx="3">
                  <c:v>2.9</c:v>
                </c:pt>
              </c:numCache>
            </c:numRef>
          </c:yVal>
          <c:bubbleSize>
            <c:numRef>
              <c:f>Sheet1!$C$2:$C$5</c:f>
              <c:numCache>
                <c:formatCode>General</c:formatCode>
                <c:ptCount val="4"/>
                <c:pt idx="0">
                  <c:v>281719220</c:v>
                </c:pt>
                <c:pt idx="1">
                  <c:v>163269308</c:v>
                </c:pt>
                <c:pt idx="2">
                  <c:v>69681814</c:v>
                </c:pt>
                <c:pt idx="3">
                  <c:v>12989092</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7"/>
          <c:min val="13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8738595-25DE-466B-8A2C-F0EDCEAC4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9C180F9-51FD-4565-AD5F-13B4FF4EB5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48F86AE-A040-414B-9EB2-7600D91E59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CE38DD8-218E-4BBE-B628-025B7799E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4EA8CC5-0DB0-4CAD-9A1C-AF20F012A9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4C787C8-76E8-4E4A-BB75-A906FEC1F7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F492F12-BF50-448C-9849-88FFD5434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73FCE06-6C28-428A-9459-2FBC4BEC1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64.9982</c:v>
                </c:pt>
                <c:pt idx="1">
                  <c:v>417.04509999999999</c:v>
                </c:pt>
              </c:numCache>
            </c:numRef>
          </c:xVal>
          <c:yVal>
            <c:numRef>
              <c:f>Sheet1!$B$2:$B$3</c:f>
              <c:numCache>
                <c:formatCode>General</c:formatCode>
                <c:ptCount val="2"/>
                <c:pt idx="0">
                  <c:v>0.96</c:v>
                </c:pt>
                <c:pt idx="1">
                  <c:v>5.7969999999999997</c:v>
                </c:pt>
              </c:numCache>
            </c:numRef>
          </c:yVal>
          <c:bubbleSize>
            <c:numRef>
              <c:f>Sheet1!$C$2:$C$3</c:f>
              <c:numCache>
                <c:formatCode>General</c:formatCode>
                <c:ptCount val="2"/>
                <c:pt idx="0">
                  <c:v>61261761</c:v>
                </c:pt>
                <c:pt idx="1">
                  <c:v>2959352</c:v>
                </c:pt>
              </c:numCache>
            </c:numRef>
          </c:bubbleSize>
          <c:bubble3D val="0"/>
          <c:extLst>
            <c:ext xmlns:c15="http://schemas.microsoft.com/office/drawing/2012/chart" uri="{02D57815-91ED-43cb-92C2-25804820EDAC}">
              <c15:datalabelsRange>
                <c15:f>Sheet1!$E$2:$E$10</c15:f>
                <c15:dlblRangeCache>
                  <c:ptCount val="9"/>
                  <c:pt idx="0">
                    <c:v>Banana Boat</c:v>
                  </c:pt>
                  <c:pt idx="1">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00"/>
          <c:min val="21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E79703-2353-4128-8E37-DC0AF28EB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39C2ACA2-ED17-425F-8FA4-91C335CDB9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1249D08-013B-40DD-B371-8523E1DE0A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4751C9A-B490-41E9-A236-3F3694A19C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C53D78E-0FA5-472C-961E-9D33C46EE9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02FA630-35D8-42A2-BB73-154A08E17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D24B4CD-1D48-4F4E-9CAC-20C36D370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0C690C5-B129-4E69-AAEB-3A5F2989D5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5.0504</c:v>
                </c:pt>
              </c:numCache>
            </c:numRef>
          </c:xVal>
          <c:yVal>
            <c:numRef>
              <c:f>Sheet1!$B$2:$B$2</c:f>
              <c:numCache>
                <c:formatCode>General</c:formatCode>
                <c:ptCount val="1"/>
                <c:pt idx="0">
                  <c:v>1</c:v>
                </c:pt>
              </c:numCache>
            </c:numRef>
          </c:yVal>
          <c:bubbleSize>
            <c:numRef>
              <c:f>Sheet1!$C$2:$C$2</c:f>
              <c:numCache>
                <c:formatCode>General</c:formatCode>
                <c:ptCount val="1"/>
                <c:pt idx="0">
                  <c:v>1562689</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6"/>
          <c:min val="1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F5C44BA-272B-496D-9C06-625948AFA7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82AEBC31-9548-4487-A1BA-E915D2653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7C4A3EC-1432-481C-93DD-B9CFF8CAD4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C7556F5-885A-4603-B031-FA211AF624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1252A4E-5E6C-4300-879A-8CF7DC299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284A675-2B7B-4B4E-BBFA-B1FC5AC01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A4B1D5C-4C18-42C9-A9A4-BF930CB97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5869719-BD79-47BA-9144-12B60E3C1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4.5033</c:v>
                </c:pt>
              </c:numCache>
            </c:numRef>
          </c:xVal>
          <c:yVal>
            <c:numRef>
              <c:f>Sheet1!$B$2:$B$2</c:f>
              <c:numCache>
                <c:formatCode>General</c:formatCode>
                <c:ptCount val="1"/>
                <c:pt idx="0">
                  <c:v>0.92800000000000005</c:v>
                </c:pt>
              </c:numCache>
            </c:numRef>
          </c:yVal>
          <c:bubbleSize>
            <c:numRef>
              <c:f>Sheet1!$C$2:$C$2</c:f>
              <c:numCache>
                <c:formatCode>General</c:formatCode>
                <c:ptCount val="1"/>
                <c:pt idx="0">
                  <c:v>13053599</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7"/>
          <c:min val="17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14B8F5-9840-4869-B210-1FDE188202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09DD07-0E1E-4688-848A-68CE49373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54683F-5440-4273-9271-2F59BEB76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1E2A654-C474-4B0B-8BF9-5F06A86A98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8A530D3-644D-44EF-AAFE-4E5EC2CADB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0427E92-6E7E-47E6-ABDE-20851A3C0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A20D6DB-DF0D-4B9A-B486-375C7C891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DEFE791-D89D-451E-9721-F4C8CDFC4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73.11759999999998</c:v>
                </c:pt>
                <c:pt idx="1">
                  <c:v>351.66789999999997</c:v>
                </c:pt>
                <c:pt idx="2">
                  <c:v>322.3177</c:v>
                </c:pt>
                <c:pt idx="3">
                  <c:v>410.1413</c:v>
                </c:pt>
              </c:numCache>
            </c:numRef>
          </c:xVal>
          <c:yVal>
            <c:numRef>
              <c:f>Sheet1!$B$2:$B$5</c:f>
              <c:numCache>
                <c:formatCode>General</c:formatCode>
                <c:ptCount val="4"/>
                <c:pt idx="0">
                  <c:v>0.55500000000000005</c:v>
                </c:pt>
                <c:pt idx="1">
                  <c:v>1.9970000000000001</c:v>
                </c:pt>
                <c:pt idx="2">
                  <c:v>2.2029999999999998</c:v>
                </c:pt>
                <c:pt idx="3">
                  <c:v>2.89</c:v>
                </c:pt>
              </c:numCache>
            </c:numRef>
          </c:yVal>
          <c:bubbleSize>
            <c:numRef>
              <c:f>Sheet1!$C$2:$C$5</c:f>
              <c:numCache>
                <c:formatCode>General</c:formatCode>
                <c:ptCount val="4"/>
                <c:pt idx="0">
                  <c:v>2219627</c:v>
                </c:pt>
                <c:pt idx="1">
                  <c:v>2139196</c:v>
                </c:pt>
                <c:pt idx="2">
                  <c:v>871547</c:v>
                </c:pt>
                <c:pt idx="3">
                  <c:v>191536</c:v>
                </c:pt>
              </c:numCache>
            </c:numRef>
          </c:bubbleSize>
          <c:bubble3D val="0"/>
          <c:extLst>
            <c:ext xmlns:c15="http://schemas.microsoft.com/office/drawing/2012/chart" uri="{02D57815-91ED-43cb-92C2-25804820EDAC}">
              <c15:datalabelsRange>
                <c15:f>Sheet1!$E$2:$E$10</c15:f>
                <c15:dlblRangeCache>
                  <c:ptCount val="9"/>
                  <c:pt idx="0">
                    <c:v>Banana Boat</c:v>
                  </c:pt>
                  <c:pt idx="1">
                    <c:v>Australian Gold</c:v>
                  </c:pt>
                  <c:pt idx="2">
                    <c:v>Ocean Potion</c:v>
                  </c:pt>
                  <c:pt idx="3">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2"/>
          <c:min val="2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9C8A75-A7A1-4329-9DBE-C675105291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89C18090-BF85-44AC-AA93-F380553ACE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D673820-706D-44F5-A995-15717478D5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918C69D-8E02-432F-8E02-A9CB33A78B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706040B-0A93-4775-B6D4-9C129F952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C97EF95-2D2E-4698-A4BE-9174B740F0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E500D61-C60A-4627-878A-5E8964C05F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7B98B4E-2F72-492E-8DFE-5A99D65E1F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51.44110000000001</c:v>
                </c:pt>
              </c:numCache>
            </c:numRef>
          </c:xVal>
          <c:yVal>
            <c:numRef>
              <c:f>Sheet1!$B$2:$B$2</c:f>
              <c:numCache>
                <c:formatCode>General</c:formatCode>
                <c:ptCount val="1"/>
                <c:pt idx="0">
                  <c:v>0.38600000000000001</c:v>
                </c:pt>
              </c:numCache>
            </c:numRef>
          </c:yVal>
          <c:bubbleSize>
            <c:numRef>
              <c:f>Sheet1!$C$2:$C$2</c:f>
              <c:numCache>
                <c:formatCode>General</c:formatCode>
                <c:ptCount val="1"/>
                <c:pt idx="0">
                  <c:v>2155740</c:v>
                </c:pt>
              </c:numCache>
            </c:numRef>
          </c:bubbleSize>
          <c:bubble3D val="0"/>
          <c:extLst>
            <c:ext xmlns:c15="http://schemas.microsoft.com/office/drawing/2012/chart" uri="{02D57815-91ED-43cb-92C2-25804820EDAC}">
              <c15:datalabelsRange>
                <c15:f>Sheet1!$E$2:$E$10</c15:f>
                <c15:dlblRangeCache>
                  <c:ptCount val="9"/>
                  <c:pt idx="0">
                    <c:v>Neutrogen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2"/>
          <c:min val="28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F64CC0-E554-40FA-850D-17A0B2B2A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3273516-A804-4BA8-9E2A-D5C59EC74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23B74E0-EB09-4B62-A652-427953707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76999F-72E6-465E-BB14-04616724D5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FD190DA-D5CC-46E0-86F0-D46C370AF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527B4B6-1F89-48C0-9DF9-BDEC2A23B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1EBEE55-3945-45CE-881E-FF6058401C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1B3A27E-5C39-466A-9D61-1CFAE8D46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637.73310000000004</c:v>
                </c:pt>
                <c:pt idx="1">
                  <c:v>558.16319999999996</c:v>
                </c:pt>
                <c:pt idx="2">
                  <c:v>711.97400000000005</c:v>
                </c:pt>
                <c:pt idx="3">
                  <c:v>704.71749999999997</c:v>
                </c:pt>
              </c:numCache>
            </c:numRef>
          </c:xVal>
          <c:yVal>
            <c:numRef>
              <c:f>Sheet1!$B$2:$B$5</c:f>
              <c:numCache>
                <c:formatCode>General</c:formatCode>
                <c:ptCount val="4"/>
                <c:pt idx="0">
                  <c:v>0.78500000000000003</c:v>
                </c:pt>
                <c:pt idx="1">
                  <c:v>1.597</c:v>
                </c:pt>
                <c:pt idx="2">
                  <c:v>2.6349999999999998</c:v>
                </c:pt>
                <c:pt idx="3">
                  <c:v>0.86599999999999999</c:v>
                </c:pt>
              </c:numCache>
            </c:numRef>
          </c:yVal>
          <c:bubbleSize>
            <c:numRef>
              <c:f>Sheet1!$C$2:$C$5</c:f>
              <c:numCache>
                <c:formatCode>General</c:formatCode>
                <c:ptCount val="4"/>
                <c:pt idx="0">
                  <c:v>29178838</c:v>
                </c:pt>
                <c:pt idx="1">
                  <c:v>28021467</c:v>
                </c:pt>
                <c:pt idx="2">
                  <c:v>3774174</c:v>
                </c:pt>
                <c:pt idx="3">
                  <c:v>3737117</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Vichy</c:v>
                  </c:pt>
                  <c:pt idx="3">
                    <c:v>Helio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4"/>
          <c:min val="44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A39461-6850-414F-AB52-737E73C3C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A74E06-14EC-4C5B-AD72-4E7AAB2FB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0868CE3-835F-4617-976A-63D9F5CB3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BDAFBB-E5DB-464B-8F47-B0DC6BE1B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A35C5AE-DB10-4400-AF29-4D5D6D783D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F4DBAAF-8453-4FD0-A7B4-63409C899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1A74D4-3AF0-48AA-AFAE-7D2EAEB127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68C8648-E838-4796-8717-D3CA1531E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18.10490000000004</c:v>
                </c:pt>
                <c:pt idx="1">
                  <c:v>301.66059999999999</c:v>
                </c:pt>
                <c:pt idx="2">
                  <c:v>659.26099999999997</c:v>
                </c:pt>
                <c:pt idx="3">
                  <c:v>703.88639999999998</c:v>
                </c:pt>
                <c:pt idx="4">
                  <c:v>675.80600000000004</c:v>
                </c:pt>
                <c:pt idx="5">
                  <c:v>753.60119999999995</c:v>
                </c:pt>
                <c:pt idx="6">
                  <c:v>726.53290000000004</c:v>
                </c:pt>
                <c:pt idx="7">
                  <c:v>628.62009999999998</c:v>
                </c:pt>
              </c:numCache>
            </c:numRef>
          </c:xVal>
          <c:yVal>
            <c:numRef>
              <c:f>Sheet1!$B$2:$B$9</c:f>
              <c:numCache>
                <c:formatCode>General</c:formatCode>
                <c:ptCount val="8"/>
                <c:pt idx="0">
                  <c:v>1.88</c:v>
                </c:pt>
                <c:pt idx="1">
                  <c:v>0.5</c:v>
                </c:pt>
                <c:pt idx="2">
                  <c:v>1.0740000000000001</c:v>
                </c:pt>
                <c:pt idx="3">
                  <c:v>1.2490000000000001</c:v>
                </c:pt>
                <c:pt idx="4">
                  <c:v>1.8420000000000001</c:v>
                </c:pt>
                <c:pt idx="5">
                  <c:v>0.80800000000000005</c:v>
                </c:pt>
                <c:pt idx="6">
                  <c:v>3.5819999999999999</c:v>
                </c:pt>
                <c:pt idx="7">
                  <c:v>1.9550000000000001</c:v>
                </c:pt>
              </c:numCache>
            </c:numRef>
          </c:yVal>
          <c:bubbleSize>
            <c:numRef>
              <c:f>Sheet1!$C$2:$C$9</c:f>
              <c:numCache>
                <c:formatCode>General</c:formatCode>
                <c:ptCount val="8"/>
                <c:pt idx="0">
                  <c:v>293910122</c:v>
                </c:pt>
                <c:pt idx="1">
                  <c:v>158153722</c:v>
                </c:pt>
                <c:pt idx="2">
                  <c:v>134418054</c:v>
                </c:pt>
                <c:pt idx="3">
                  <c:v>93898444</c:v>
                </c:pt>
                <c:pt idx="4">
                  <c:v>92790193</c:v>
                </c:pt>
                <c:pt idx="5">
                  <c:v>48335230</c:v>
                </c:pt>
                <c:pt idx="6">
                  <c:v>46613626</c:v>
                </c:pt>
                <c:pt idx="7">
                  <c:v>45192131</c:v>
                </c:pt>
              </c:numCache>
            </c:numRef>
          </c:bubbleSize>
          <c:bubble3D val="0"/>
          <c:extLst>
            <c:ext xmlns:c15="http://schemas.microsoft.com/office/drawing/2012/chart" uri="{02D57815-91ED-43cb-92C2-25804820EDAC}">
              <c15:datalabelsRange>
                <c15:f>Sheet1!$E$2:$E$10</c15:f>
                <c15:dlblRangeCache>
                  <c:ptCount val="9"/>
                  <c:pt idx="0">
                    <c:v>Isdin</c:v>
                  </c:pt>
                  <c:pt idx="1">
                    <c:v>Neutrogena</c:v>
                  </c:pt>
                  <c:pt idx="2">
                    <c:v>Avene</c:v>
                  </c:pt>
                  <c:pt idx="3">
                    <c:v>Eucerin</c:v>
                  </c:pt>
                  <c:pt idx="4">
                    <c:v>La Roche-Posay</c:v>
                  </c:pt>
                  <c:pt idx="5">
                    <c:v>Vichy</c:v>
                  </c:pt>
                  <c:pt idx="6">
                    <c:v>Photoderm</c:v>
                  </c:pt>
                  <c:pt idx="7">
                    <c:v>Helio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4"/>
          <c:min val="24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4FC8534-2976-4B51-B645-036DD6397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B00DADF-EBAC-4CC0-A06F-8D9E7B6651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3419140-8BE2-4B2A-B0DF-2290A53D92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2ECA3B3-C808-427A-A191-A0C01A8CB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8374BE8-AF41-40EE-AF58-4D6C8B7F72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D7D116F-8D6B-4329-AE84-7A91C1DF7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59818EA-2FA4-400F-B22C-E923CD2DC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5A62A5A-98E4-4A65-88C9-9F2A57D27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18.98260000000005</c:v>
                </c:pt>
                <c:pt idx="1">
                  <c:v>632.22529999999995</c:v>
                </c:pt>
                <c:pt idx="2">
                  <c:v>747.31100000000004</c:v>
                </c:pt>
                <c:pt idx="3">
                  <c:v>640.42579999999998</c:v>
                </c:pt>
                <c:pt idx="4">
                  <c:v>596.89359999999999</c:v>
                </c:pt>
                <c:pt idx="5">
                  <c:v>600.24639999999999</c:v>
                </c:pt>
              </c:numCache>
            </c:numRef>
          </c:xVal>
          <c:yVal>
            <c:numRef>
              <c:f>Sheet1!$B$2:$B$7</c:f>
              <c:numCache>
                <c:formatCode>General</c:formatCode>
                <c:ptCount val="6"/>
                <c:pt idx="0">
                  <c:v>0.92200000000000004</c:v>
                </c:pt>
                <c:pt idx="1">
                  <c:v>0.95799999999999996</c:v>
                </c:pt>
                <c:pt idx="2">
                  <c:v>1.26</c:v>
                </c:pt>
                <c:pt idx="3">
                  <c:v>0.95399999999999996</c:v>
                </c:pt>
                <c:pt idx="4">
                  <c:v>0.89300000000000002</c:v>
                </c:pt>
                <c:pt idx="5">
                  <c:v>1.419</c:v>
                </c:pt>
              </c:numCache>
            </c:numRef>
          </c:yVal>
          <c:bubbleSize>
            <c:numRef>
              <c:f>Sheet1!$C$2:$C$7</c:f>
              <c:numCache>
                <c:formatCode>General</c:formatCode>
                <c:ptCount val="6"/>
                <c:pt idx="0">
                  <c:v>137352856</c:v>
                </c:pt>
                <c:pt idx="1">
                  <c:v>70816815</c:v>
                </c:pt>
                <c:pt idx="2">
                  <c:v>56541549</c:v>
                </c:pt>
                <c:pt idx="3">
                  <c:v>23466483</c:v>
                </c:pt>
                <c:pt idx="4">
                  <c:v>21588447</c:v>
                </c:pt>
                <c:pt idx="5">
                  <c:v>17920958</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Heliocare</c:v>
                  </c:pt>
                  <c:pt idx="4">
                    <c:v>Eucerin</c:v>
                  </c:pt>
                  <c:pt idx="5">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7"/>
          <c:min val="47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C318BA3-4AC5-47CF-BF8C-0CEC27189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9007218-854A-4FE6-915E-4C3A1A8DD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8AEFC60-F153-41A1-92F6-05B24DD5D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0AEC8E-3A59-48B1-875D-4D0A5D24F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78E5082-B304-4AD1-A2FD-59D63D8D1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A907B1D-0F47-4958-8C14-82BD41FEE4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4853838-39B7-47A3-8F2E-E1811FCA5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E20A963-BED3-442E-8786-93557B4CF9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32.08420000000001</c:v>
                </c:pt>
                <c:pt idx="1">
                  <c:v>632.31629999999996</c:v>
                </c:pt>
                <c:pt idx="2">
                  <c:v>582.01130000000001</c:v>
                </c:pt>
                <c:pt idx="3">
                  <c:v>663.69219999999996</c:v>
                </c:pt>
                <c:pt idx="4">
                  <c:v>752.56579999999997</c:v>
                </c:pt>
                <c:pt idx="5">
                  <c:v>511.63319999999999</c:v>
                </c:pt>
              </c:numCache>
            </c:numRef>
          </c:xVal>
          <c:yVal>
            <c:numRef>
              <c:f>Sheet1!$B$2:$B$7</c:f>
              <c:numCache>
                <c:formatCode>General</c:formatCode>
                <c:ptCount val="6"/>
                <c:pt idx="0">
                  <c:v>0.5</c:v>
                </c:pt>
                <c:pt idx="1">
                  <c:v>2.4620000000000002</c:v>
                </c:pt>
                <c:pt idx="2">
                  <c:v>2.2679999999999998</c:v>
                </c:pt>
                <c:pt idx="3">
                  <c:v>2.3769999999999998</c:v>
                </c:pt>
                <c:pt idx="4">
                  <c:v>5.3550000000000004</c:v>
                </c:pt>
                <c:pt idx="5">
                  <c:v>1</c:v>
                </c:pt>
              </c:numCache>
            </c:numRef>
          </c:yVal>
          <c:bubbleSize>
            <c:numRef>
              <c:f>Sheet1!$C$2:$C$7</c:f>
              <c:numCache>
                <c:formatCode>General</c:formatCode>
                <c:ptCount val="6"/>
                <c:pt idx="0">
                  <c:v>106368391</c:v>
                </c:pt>
                <c:pt idx="1">
                  <c:v>81286153</c:v>
                </c:pt>
                <c:pt idx="2">
                  <c:v>57202400</c:v>
                </c:pt>
                <c:pt idx="3">
                  <c:v>22137452</c:v>
                </c:pt>
                <c:pt idx="4">
                  <c:v>12419594</c:v>
                </c:pt>
                <c:pt idx="5">
                  <c:v>5839270</c:v>
                </c:pt>
              </c:numCache>
            </c:numRef>
          </c:bubbleSize>
          <c:bubble3D val="0"/>
          <c:extLst>
            <c:ext xmlns:c15="http://schemas.microsoft.com/office/drawing/2012/chart" uri="{02D57815-91ED-43cb-92C2-25804820EDAC}">
              <c15:datalabelsRange>
                <c15:f>Sheet1!$E$2:$E$10</c15:f>
                <c15:dlblRangeCache>
                  <c:ptCount val="9"/>
                  <c:pt idx="0">
                    <c:v>Isdin</c:v>
                  </c:pt>
                  <c:pt idx="1">
                    <c:v>Eucerin</c:v>
                  </c:pt>
                  <c:pt idx="2">
                    <c:v>La Roche-Posay</c:v>
                  </c:pt>
                  <c:pt idx="3">
                    <c:v>Heliocare</c:v>
                  </c:pt>
                  <c:pt idx="4">
                    <c:v>Photoderm</c:v>
                  </c:pt>
                  <c:pt idx="5">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3"/>
          <c:min val="40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140C72F4-636A-4DBC-AB01-039349142D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9D8E2C23-34BF-4D2C-89FC-7CDC4FDE0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1767DB9D-2285-4EFD-A3AD-D98E941754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512BF939-52B5-4A4F-810D-2E5996DF6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6A2E89C6-1013-4655-B380-DD261FB9D0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F0FEBCCB-807B-4510-B0E7-F3951DDA3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72369407-B0A4-4B74-A342-C31E5F9E3F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226BC1BD-76F8-4DFD-AE69-256733373D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62.02730000000003</c:v>
                </c:pt>
                <c:pt idx="1">
                  <c:v>404.45150000000001</c:v>
                </c:pt>
              </c:numCache>
            </c:numRef>
          </c:xVal>
          <c:yVal>
            <c:numRef>
              <c:f>Sheet1!$B$2:$B$3</c:f>
              <c:numCache>
                <c:formatCode>General</c:formatCode>
                <c:ptCount val="2"/>
                <c:pt idx="0">
                  <c:v>0.96699999999999997</c:v>
                </c:pt>
                <c:pt idx="1">
                  <c:v>4.4260000000000002</c:v>
                </c:pt>
              </c:numCache>
            </c:numRef>
          </c:yVal>
          <c:bubbleSize>
            <c:numRef>
              <c:f>Sheet1!$C$2:$C$3</c:f>
              <c:numCache>
                <c:formatCode>General</c:formatCode>
                <c:ptCount val="2"/>
                <c:pt idx="0">
                  <c:v>65122427</c:v>
                </c:pt>
                <c:pt idx="1">
                  <c:v>2967056</c:v>
                </c:pt>
              </c:numCache>
            </c:numRef>
          </c:bubbleSize>
          <c:bubble3D val="0"/>
          <c:extLst>
            <c:ext xmlns:c15="http://schemas.microsoft.com/office/drawing/2012/chart" uri="{02D57815-91ED-43cb-92C2-25804820EDAC}">
              <c15:datalabelsRange>
                <c15:f>Sheet1!$E$2:$E$10</c15:f>
                <c15:dlblRangeCache>
                  <c:ptCount val="9"/>
                  <c:pt idx="0">
                    <c:v>Banana Boat</c:v>
                  </c:pt>
                  <c:pt idx="1">
                    <c:v>Mustela</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85"/>
          <c:min val="2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D6E330-1764-49C7-A5BA-CDE37F70C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57C99E-22DC-414F-844C-4B0259F7B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4A534A9-D8FA-475F-8076-0F2F916145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DA1085A-EF02-431F-91A6-B6A980237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D8221B8-F316-46B9-8771-E03728591D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3A7E28E-8A29-4E04-AE47-BC2D7EDD51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B48156E-A033-495F-9A98-6C3056768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B7DA51A-8977-4263-8024-E078460356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87.48429999999996</c:v>
                </c:pt>
                <c:pt idx="1">
                  <c:v>824.6857</c:v>
                </c:pt>
              </c:numCache>
            </c:numRef>
          </c:xVal>
          <c:yVal>
            <c:numRef>
              <c:f>Sheet1!$B$2:$B$3</c:f>
              <c:numCache>
                <c:formatCode>General</c:formatCode>
                <c:ptCount val="2"/>
                <c:pt idx="0">
                  <c:v>0.879</c:v>
                </c:pt>
                <c:pt idx="1">
                  <c:v>2.84</c:v>
                </c:pt>
              </c:numCache>
            </c:numRef>
          </c:yVal>
          <c:bubbleSize>
            <c:numRef>
              <c:f>Sheet1!$C$2:$C$3</c:f>
              <c:numCache>
                <c:formatCode>General</c:formatCode>
                <c:ptCount val="2"/>
                <c:pt idx="0">
                  <c:v>34448463</c:v>
                </c:pt>
                <c:pt idx="1">
                  <c:v>7277027</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90"/>
          <c:min val="5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FBC3C2C-D9A9-43B3-8314-902EEB3CE7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67F7E4B-CD45-41F7-9BAF-B9D14FEEB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FD8D026-7738-4ABC-B85A-DD0E91421F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D430971-6F79-4666-89FC-E8D8001F88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9379C34-2B0A-4B13-87C8-FE79F182F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1102602-9CE3-481B-ADD5-CB24241A7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D3A54FD-7C2A-44D9-9A7B-BC175D7C5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CE0662-EC2A-4D4E-BD95-3C2C8161F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03049999999999</c:v>
                </c:pt>
                <c:pt idx="1">
                  <c:v>628.96190000000001</c:v>
                </c:pt>
                <c:pt idx="2">
                  <c:v>804.16989999999998</c:v>
                </c:pt>
                <c:pt idx="3">
                  <c:v>700.29290000000003</c:v>
                </c:pt>
                <c:pt idx="4">
                  <c:v>516.58640000000003</c:v>
                </c:pt>
                <c:pt idx="5">
                  <c:v>603.49339999999995</c:v>
                </c:pt>
                <c:pt idx="6">
                  <c:v>447.51420000000002</c:v>
                </c:pt>
                <c:pt idx="7">
                  <c:v>888.16780000000006</c:v>
                </c:pt>
              </c:numCache>
            </c:numRef>
          </c:xVal>
          <c:yVal>
            <c:numRef>
              <c:f>Sheet1!$B$2:$B$9</c:f>
              <c:numCache>
                <c:formatCode>General</c:formatCode>
                <c:ptCount val="8"/>
                <c:pt idx="0">
                  <c:v>1.1970000000000001</c:v>
                </c:pt>
                <c:pt idx="1">
                  <c:v>1.46</c:v>
                </c:pt>
                <c:pt idx="2">
                  <c:v>1.514</c:v>
                </c:pt>
                <c:pt idx="3">
                  <c:v>0.78200000000000003</c:v>
                </c:pt>
                <c:pt idx="4">
                  <c:v>0.78400000000000003</c:v>
                </c:pt>
                <c:pt idx="5">
                  <c:v>0.46500000000000002</c:v>
                </c:pt>
                <c:pt idx="6">
                  <c:v>0.70399999999999996</c:v>
                </c:pt>
                <c:pt idx="7">
                  <c:v>0.879</c:v>
                </c:pt>
              </c:numCache>
            </c:numRef>
          </c:yVal>
          <c:bubbleSize>
            <c:numRef>
              <c:f>Sheet1!$C$2:$C$9</c:f>
              <c:numCache>
                <c:formatCode>General</c:formatCode>
                <c:ptCount val="8"/>
                <c:pt idx="0">
                  <c:v>26487655</c:v>
                </c:pt>
                <c:pt idx="1">
                  <c:v>18058126</c:v>
                </c:pt>
                <c:pt idx="2">
                  <c:v>10496025</c:v>
                </c:pt>
                <c:pt idx="3">
                  <c:v>9653538</c:v>
                </c:pt>
                <c:pt idx="4">
                  <c:v>9608507</c:v>
                </c:pt>
                <c:pt idx="5">
                  <c:v>8407267</c:v>
                </c:pt>
                <c:pt idx="6">
                  <c:v>2911975</c:v>
                </c:pt>
                <c:pt idx="7">
                  <c:v>2900756</c:v>
                </c:pt>
              </c:numCache>
            </c:numRef>
          </c:bubbleSize>
          <c:bubble3D val="0"/>
          <c:extLst>
            <c:ext xmlns:c15="http://schemas.microsoft.com/office/drawing/2012/chart" uri="{02D57815-91ED-43cb-92C2-25804820EDAC}">
              <c15:datalabelsRange>
                <c15:f>Sheet1!$E$2:$E$10</c15:f>
                <c15:dlblRangeCache>
                  <c:ptCount val="9"/>
                  <c:pt idx="0">
                    <c:v>Loreal Paris</c:v>
                  </c:pt>
                  <c:pt idx="1">
                    <c:v>Isdin</c:v>
                  </c:pt>
                  <c:pt idx="2">
                    <c:v>La Roche-Posay</c:v>
                  </c:pt>
                  <c:pt idx="3">
                    <c:v>Eucerin</c:v>
                  </c:pt>
                  <c:pt idx="4">
                    <c:v>Cetaphil</c:v>
                  </c:pt>
                  <c:pt idx="5">
                    <c:v>Avene</c:v>
                  </c:pt>
                  <c:pt idx="6">
                    <c:v>Eclipsol</c:v>
                  </c:pt>
                  <c:pt idx="7">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66"/>
          <c:min val="19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29903B7-AD3E-47B7-941A-EF62B1E63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1F60AAB-0480-447B-A9B3-EDABBEEB4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80E4B4-33C7-4B7C-A09E-F098A7680B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B3BEA53-8508-4C5C-BF63-3DF91C41C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8ABDB09-1BD2-4248-B4F2-94B23928E5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E4C9B05-B713-4426-B943-B3ABF5AB79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8E9601C-13BA-4981-AF3F-0EB4CC9CDC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0C0711B-5568-41E1-9EFE-6D92A0542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36.27970000000005</c:v>
                </c:pt>
                <c:pt idx="1">
                  <c:v>654.95699999999999</c:v>
                </c:pt>
                <c:pt idx="2">
                  <c:v>300.2527</c:v>
                </c:pt>
              </c:numCache>
            </c:numRef>
          </c:xVal>
          <c:yVal>
            <c:numRef>
              <c:f>Sheet1!$B$2:$B$4</c:f>
              <c:numCache>
                <c:formatCode>General</c:formatCode>
                <c:ptCount val="3"/>
                <c:pt idx="0">
                  <c:v>0.754</c:v>
                </c:pt>
                <c:pt idx="1">
                  <c:v>1.286</c:v>
                </c:pt>
                <c:pt idx="2">
                  <c:v>1.379</c:v>
                </c:pt>
              </c:numCache>
            </c:numRef>
          </c:yVal>
          <c:bubbleSize>
            <c:numRef>
              <c:f>Sheet1!$C$2:$C$4</c:f>
              <c:numCache>
                <c:formatCode>General</c:formatCode>
                <c:ptCount val="3"/>
                <c:pt idx="0">
                  <c:v>6581041</c:v>
                </c:pt>
                <c:pt idx="1">
                  <c:v>4375768</c:v>
                </c:pt>
                <c:pt idx="2">
                  <c:v>4101452</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Eclipso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6"/>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2C6468-91CD-4E98-8A7D-BC1588F7E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7F5051-C589-4D85-999C-DEEEA1C5F5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9BA392-9124-4D76-922E-712D3D0DA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FC250F1-3295-47C1-8A86-4295FCD2D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2FC34D9-356C-445C-A848-C07C86055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C3F93D0-EA0E-4AA3-BFA3-905C69538F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04D1E3E-C631-4E3E-A3BF-F0F26F4466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7E9FA81-EA60-4775-8AFA-A1A221E3FE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738.86839999999995</c:v>
                </c:pt>
                <c:pt idx="1">
                  <c:v>1043.2023999999999</c:v>
                </c:pt>
                <c:pt idx="2">
                  <c:v>636.08339999999998</c:v>
                </c:pt>
              </c:numCache>
            </c:numRef>
          </c:xVal>
          <c:yVal>
            <c:numRef>
              <c:f>Sheet1!$B$2:$B$4</c:f>
              <c:numCache>
                <c:formatCode>General</c:formatCode>
                <c:ptCount val="3"/>
                <c:pt idx="0">
                  <c:v>0.89600000000000002</c:v>
                </c:pt>
                <c:pt idx="1">
                  <c:v>1.7969999999999999</c:v>
                </c:pt>
                <c:pt idx="2">
                  <c:v>1.7050000000000001</c:v>
                </c:pt>
              </c:numCache>
            </c:numRef>
          </c:yVal>
          <c:bubbleSize>
            <c:numRef>
              <c:f>Sheet1!$C$2:$C$4</c:f>
              <c:numCache>
                <c:formatCode>General</c:formatCode>
                <c:ptCount val="3"/>
                <c:pt idx="0">
                  <c:v>23557341</c:v>
                </c:pt>
                <c:pt idx="1">
                  <c:v>4051798</c:v>
                </c:pt>
                <c:pt idx="2">
                  <c:v>2243466</c:v>
                </c:pt>
              </c:numCache>
            </c:numRef>
          </c:bubbleSize>
          <c:bubble3D val="0"/>
          <c:extLst>
            <c:ext xmlns:c15="http://schemas.microsoft.com/office/drawing/2012/chart" uri="{02D57815-91ED-43cb-92C2-25804820EDAC}">
              <c15:datalabelsRange>
                <c15:f>Sheet1!$E$2:$E$10</c15:f>
                <c15:dlblRangeCache>
                  <c:ptCount val="9"/>
                  <c:pt idx="0">
                    <c:v>Photoderm</c:v>
                  </c:pt>
                  <c:pt idx="1">
                    <c:v>La Roche-Posay</c:v>
                  </c:pt>
                  <c:pt idx="2">
                    <c:v>Genov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52"/>
          <c:min val="50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780179-83C6-4C5C-BAE4-DA17AE2C61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B044B1A-90E6-4D4A-A1A7-EDD67CE58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F8C95FD-D7D4-497C-85C2-2E23DD30F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FB4942B-6187-4980-AAD7-AF05AD91F9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790ED74-E767-4C46-B18F-8C96A657B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D9A07A6-0846-4A4C-A1A5-D6F7344BA5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3FEAC5C-EDF3-49D8-A600-DDF211262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75ADE6E-4917-4F37-8BC9-2E0CBE94EB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80.52710000000002</c:v>
                </c:pt>
              </c:numCache>
            </c:numRef>
          </c:xVal>
          <c:yVal>
            <c:numRef>
              <c:f>Sheet1!$B$2:$B$2</c:f>
              <c:numCache>
                <c:formatCode>General</c:formatCode>
                <c:ptCount val="1"/>
                <c:pt idx="0">
                  <c:v>1</c:v>
                </c:pt>
              </c:numCache>
            </c:numRef>
          </c:yVal>
          <c:bubbleSize>
            <c:numRef>
              <c:f>Sheet1!$C$2:$C$2</c:f>
              <c:numCache>
                <c:formatCode>General</c:formatCode>
                <c:ptCount val="1"/>
                <c:pt idx="0">
                  <c:v>35235613</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77"/>
          <c:min val="38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8BEEEC-1DAD-4165-BC43-220F56BC14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354720-C2C7-46D1-8ECB-DF1A1564C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DC35388-5598-4C32-B071-074D7400D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FCE02CE-A8A4-49BF-B79A-B5F094D0F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7633143-0EDB-4B11-9515-8A38687C8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A469A38-624F-4025-9B91-553F08E80E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5674241-178F-4D36-AF52-954EC6F62F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06AC979-6AC9-4B97-A99F-FE70F2337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57.81979999999999</c:v>
                </c:pt>
                <c:pt idx="1">
                  <c:v>75.912099999999995</c:v>
                </c:pt>
              </c:numCache>
            </c:numRef>
          </c:xVal>
          <c:yVal>
            <c:numRef>
              <c:f>Sheet1!$B$2:$B$3</c:f>
              <c:numCache>
                <c:formatCode>General</c:formatCode>
                <c:ptCount val="2"/>
                <c:pt idx="0">
                  <c:v>1.2210000000000001</c:v>
                </c:pt>
                <c:pt idx="1">
                  <c:v>0.68500000000000005</c:v>
                </c:pt>
              </c:numCache>
            </c:numRef>
          </c:yVal>
          <c:bubbleSize>
            <c:numRef>
              <c:f>Sheet1!$C$2:$C$3</c:f>
              <c:numCache>
                <c:formatCode>General</c:formatCode>
                <c:ptCount val="2"/>
                <c:pt idx="0">
                  <c:v>50721412</c:v>
                </c:pt>
                <c:pt idx="1">
                  <c:v>18676352</c:v>
                </c:pt>
              </c:numCache>
            </c:numRef>
          </c:bubbleSize>
          <c:bubble3D val="0"/>
          <c:extLst>
            <c:ext xmlns:c15="http://schemas.microsoft.com/office/drawing/2012/chart" uri="{02D57815-91ED-43cb-92C2-25804820EDAC}">
              <c15:datalabelsRange>
                <c15:f>Sheet1!$E$2:$E$10</c15:f>
                <c15:dlblRangeCache>
                  <c:ptCount val="9"/>
                  <c:pt idx="0">
                    <c:v>Banana Boat</c:v>
                  </c:pt>
                  <c:pt idx="1">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9"/>
          <c:min val="6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623163-1920-4592-8B6F-F925BDDCB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D0525C-6BA1-4C04-9AFE-A75192C52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EB8842C-0AB0-4920-BC79-FCEDDF3C8F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BBF34DA-A83F-4AF6-85CB-483CC1C94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783142E-6A8A-4494-8FEA-1653F6DBD5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4DD561E-CA52-419B-BD15-9441FABE2B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24894E7-354B-4F09-AEDF-321A74DA7C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B06F351-80B8-4F41-A170-9C94B2CBF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02.13130000000001</c:v>
                </c:pt>
                <c:pt idx="1">
                  <c:v>277.94549999999998</c:v>
                </c:pt>
              </c:numCache>
            </c:numRef>
          </c:xVal>
          <c:yVal>
            <c:numRef>
              <c:f>Sheet1!$B$2:$B$3</c:f>
              <c:numCache>
                <c:formatCode>General</c:formatCode>
                <c:ptCount val="2"/>
                <c:pt idx="0">
                  <c:v>0.97499999999999998</c:v>
                </c:pt>
                <c:pt idx="1">
                  <c:v>1.0680000000000001</c:v>
                </c:pt>
              </c:numCache>
            </c:numRef>
          </c:yVal>
          <c:bubbleSize>
            <c:numRef>
              <c:f>Sheet1!$C$2:$C$3</c:f>
              <c:numCache>
                <c:formatCode>General</c:formatCode>
                <c:ptCount val="2"/>
                <c:pt idx="0">
                  <c:v>74697818</c:v>
                </c:pt>
                <c:pt idx="1">
                  <c:v>29684024</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4"/>
          <c:min val="1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0FF379-B1EF-4C96-BB65-62AC6C473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D0185A72-3916-4F85-A168-06A8629126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EE9B53A-C1BA-44E5-B4A0-416945FC9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EB4E5D9-EE65-45D8-8D64-4F5091562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C5A10A7-2EAB-49C1-BB1D-23317FE6A8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FE26E68-8BBA-41DA-A905-9D2109F306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372200E-FA8E-4EFA-92E9-239EEEF718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72ACBDE-67B3-4EEA-872A-3CDEDBCB4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90.40649999999999</c:v>
                </c:pt>
              </c:numCache>
            </c:numRef>
          </c:xVal>
          <c:yVal>
            <c:numRef>
              <c:f>Sheet1!$B$2:$B$2</c:f>
              <c:numCache>
                <c:formatCode>General</c:formatCode>
                <c:ptCount val="1"/>
                <c:pt idx="0">
                  <c:v>0.995</c:v>
                </c:pt>
              </c:numCache>
            </c:numRef>
          </c:yVal>
          <c:bubbleSize>
            <c:numRef>
              <c:f>Sheet1!$C$2:$C$2</c:f>
              <c:numCache>
                <c:formatCode>General</c:formatCode>
                <c:ptCount val="1"/>
                <c:pt idx="0">
                  <c:v>31430026</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8"/>
          <c:min val="15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AC61656-EBCD-4A38-819A-88677ACBC9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47AC5BD8-3B16-430E-9E54-E7356A808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28B2780-0C9B-4CE4-9471-9554305ABD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91C4EEB-8A02-4781-8650-A69FB6B5B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4B16FA0-796F-4256-8108-F6219F3D51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0E9A55D-D7B5-4BA0-A3CB-51E5E1E849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EFB90AC-88B7-4180-90E3-6D12B78B00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181BF23-B6B6-486B-8C3B-E5787D110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0.27610000000001</c:v>
                </c:pt>
              </c:numCache>
            </c:numRef>
          </c:xVal>
          <c:yVal>
            <c:numRef>
              <c:f>Sheet1!$B$2:$B$2</c:f>
              <c:numCache>
                <c:formatCode>General</c:formatCode>
                <c:ptCount val="1"/>
                <c:pt idx="0">
                  <c:v>1</c:v>
                </c:pt>
              </c:numCache>
            </c:numRef>
          </c:yVal>
          <c:bubbleSize>
            <c:numRef>
              <c:f>Sheet1!$C$2:$C$2</c:f>
              <c:numCache>
                <c:formatCode>General</c:formatCode>
                <c:ptCount val="1"/>
                <c:pt idx="0">
                  <c:v>1672957</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2"/>
          <c:min val="1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689D2A-A6AF-40C7-A5B5-8DE67AF063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F619EC-DB28-440B-90C1-DC331E361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18A0EEC-5BA1-429D-A8F4-2178659AD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3CFACAF-936F-42F9-BB74-A41EAECA7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2A8E0F4-C93D-42F3-9742-DFEF9764A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467E27C-733B-4AD9-BBFD-729365302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99C1AE2-8922-4A5B-96E2-802D3DCA4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2E95E2E-C145-4F86-9369-40069D563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09.32509999999999</c:v>
                </c:pt>
                <c:pt idx="1">
                  <c:v>393.94940000000003</c:v>
                </c:pt>
                <c:pt idx="2">
                  <c:v>320.19260000000003</c:v>
                </c:pt>
              </c:numCache>
            </c:numRef>
          </c:xVal>
          <c:yVal>
            <c:numRef>
              <c:f>Sheet1!$B$2:$B$4</c:f>
              <c:numCache>
                <c:formatCode>General</c:formatCode>
                <c:ptCount val="3"/>
                <c:pt idx="0">
                  <c:v>0.60199999999999998</c:v>
                </c:pt>
                <c:pt idx="1">
                  <c:v>2.2109999999999999</c:v>
                </c:pt>
                <c:pt idx="2">
                  <c:v>2.2650000000000001</c:v>
                </c:pt>
              </c:numCache>
            </c:numRef>
          </c:yVal>
          <c:bubbleSize>
            <c:numRef>
              <c:f>Sheet1!$C$2:$C$4</c:f>
              <c:numCache>
                <c:formatCode>General</c:formatCode>
                <c:ptCount val="3"/>
                <c:pt idx="0">
                  <c:v>792505</c:v>
                </c:pt>
                <c:pt idx="1">
                  <c:v>599985</c:v>
                </c:pt>
                <c:pt idx="2">
                  <c:v>319232</c:v>
                </c:pt>
              </c:numCache>
            </c:numRef>
          </c:bubbleSize>
          <c:bubble3D val="0"/>
          <c:extLst>
            <c:ext xmlns:c15="http://schemas.microsoft.com/office/drawing/2012/chart" uri="{02D57815-91ED-43cb-92C2-25804820EDAC}">
              <c15:datalabelsRange>
                <c15:f>Sheet1!$E$2:$E$10</c15:f>
                <c15:dlblRangeCache>
                  <c:ptCount val="9"/>
                  <c:pt idx="0">
                    <c:v>Banana Boat</c:v>
                  </c:pt>
                  <c:pt idx="1">
                    <c:v>Australian Gold</c:v>
                  </c:pt>
                  <c:pt idx="2">
                    <c:v>Ocean Po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3"/>
          <c:min val="1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7E24C0C2-ECB4-4179-888D-7EC3EFE08A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CA-4C16-90F6-A0D9A3D8DA8E}"/>
                </c:ext>
              </c:extLst>
            </c:dLbl>
            <c:dLbl>
              <c:idx val="2"/>
              <c:tx>
                <c:rich>
                  <a:bodyPr/>
                  <a:lstStyle/>
                  <a:p>
                    <a:fld id="{376DAEBB-A966-4FF6-955C-3FBA1B92FF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963DDA4C-244D-4485-B926-23A09A612A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B9261620-D983-4384-899A-BC766C76D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B123CC27-F992-40FD-8D7D-29C4716EE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6CCBD9FF-726B-422B-A377-871C4D38AC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145677B4-F410-42B1-917C-A4C957A5B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2D3213AA-5E92-4E66-AEEB-2D9EF8BCD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4.3065</c:v>
                </c:pt>
              </c:numCache>
            </c:numRef>
          </c:xVal>
          <c:yVal>
            <c:numRef>
              <c:f>Sheet1!$B$2:$B$2</c:f>
              <c:numCache>
                <c:formatCode>General</c:formatCode>
                <c:ptCount val="1"/>
                <c:pt idx="0">
                  <c:v>1</c:v>
                </c:pt>
              </c:numCache>
            </c:numRef>
          </c:yVal>
          <c:bubbleSize>
            <c:numRef>
              <c:f>Sheet1!$C$2:$C$2</c:f>
              <c:numCache>
                <c:formatCode>General</c:formatCode>
                <c:ptCount val="1"/>
                <c:pt idx="0">
                  <c:v>1572343</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5"/>
          <c:min val="16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C8C2CEF-E0C4-44BD-B447-73364FFBF7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5750CC2-6D46-4A05-A272-01ADBD58F3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27ABDA2-3CCE-497E-B5B7-A5048835A1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D1B501F-364E-417C-82CD-FCDE5D9F08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CAA8CF3-3246-4E9F-9AF2-0ED83F8D4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78BB6F2-3AAE-4D92-B79C-4AF280882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626C461-994D-4A44-B562-CA462FE4F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28A3869-E29A-482D-925A-A95C81595C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55.99919999999997</c:v>
                </c:pt>
              </c:numCache>
            </c:numRef>
          </c:xVal>
          <c:yVal>
            <c:numRef>
              <c:f>Sheet1!$B$2:$B$2</c:f>
              <c:numCache>
                <c:formatCode>General</c:formatCode>
                <c:ptCount val="1"/>
                <c:pt idx="0">
                  <c:v>1</c:v>
                </c:pt>
              </c:numCache>
            </c:numRef>
          </c:yVal>
          <c:bubbleSize>
            <c:numRef>
              <c:f>Sheet1!$C$2:$C$2</c:f>
              <c:numCache>
                <c:formatCode>General</c:formatCode>
                <c:ptCount val="1"/>
                <c:pt idx="0">
                  <c:v>12520547</c:v>
                </c:pt>
              </c:numCache>
            </c:numRef>
          </c:bubbleSize>
          <c:bubble3D val="0"/>
          <c:extLst>
            <c:ext xmlns:c15="http://schemas.microsoft.com/office/drawing/2012/chart" uri="{02D57815-91ED-43cb-92C2-25804820EDAC}">
              <c15:datalabelsRange>
                <c15:f>Sheet1!$E$2:$E$10</c15:f>
                <c15:dlblRangeCache>
                  <c:ptCount val="9"/>
                  <c:pt idx="0">
                    <c:v>Helio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7"/>
          <c:min val="44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6A1BD57-BC83-4B0F-8E37-C5B92E989E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450C6E0-A515-4E68-B254-F7B60F9B20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BF95A87-A6A3-4878-B362-8B43CEC8B3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3AAEDEA-5753-4B27-A2D6-2D06561242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9FE9D4B-457B-437A-AF1E-9C4D9F6B5A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71793E7-CDA0-48AD-B486-9EE991D2A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D14C65F-5B7F-4F14-B95D-A4640E3140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DF5E2A5-3225-4727-A204-298648B46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95.63639999999998</c:v>
                </c:pt>
              </c:numCache>
            </c:numRef>
          </c:xVal>
          <c:yVal>
            <c:numRef>
              <c:f>Sheet1!$B$2:$B$2</c:f>
              <c:numCache>
                <c:formatCode>General</c:formatCode>
                <c:ptCount val="1"/>
                <c:pt idx="0">
                  <c:v>2.0259999999999998</c:v>
                </c:pt>
              </c:numCache>
            </c:numRef>
          </c:yVal>
          <c:bubbleSize>
            <c:numRef>
              <c:f>Sheet1!$C$2:$C$2</c:f>
              <c:numCache>
                <c:formatCode>General</c:formatCode>
                <c:ptCount val="1"/>
                <c:pt idx="0">
                  <c:v>21760</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5"/>
          <c:min val="31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A663C2E-FB31-4333-89D7-A2EBAA230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516078-610D-4E95-AF03-6B90D4564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276C4A-E01B-43AA-90C8-5101422F3F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E365731-60DF-4332-B915-FFBC824F7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16AA12-7E0A-4E71-B9D6-0B4AEC1E9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CEEC24-AE7B-4F29-B2A7-2CF7D9DD76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F789172-75F7-45EF-86E1-AC9BAB38B3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971C5D3-20C2-4B81-AAFE-E0EFE30F15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08.18990000000002</c:v>
                </c:pt>
                <c:pt idx="1">
                  <c:v>274.72609999999997</c:v>
                </c:pt>
                <c:pt idx="2">
                  <c:v>69.441400000000002</c:v>
                </c:pt>
                <c:pt idx="3">
                  <c:v>281.73669999999998</c:v>
                </c:pt>
                <c:pt idx="4">
                  <c:v>195.4134</c:v>
                </c:pt>
                <c:pt idx="5">
                  <c:v>79.343900000000005</c:v>
                </c:pt>
              </c:numCache>
            </c:numRef>
          </c:xVal>
          <c:yVal>
            <c:numRef>
              <c:f>Sheet1!$B$2:$B$7</c:f>
              <c:numCache>
                <c:formatCode>General</c:formatCode>
                <c:ptCount val="6"/>
                <c:pt idx="0">
                  <c:v>2.036</c:v>
                </c:pt>
                <c:pt idx="1">
                  <c:v>0.70899999999999996</c:v>
                </c:pt>
                <c:pt idx="2">
                  <c:v>0.371</c:v>
                </c:pt>
                <c:pt idx="3">
                  <c:v>0.79500000000000004</c:v>
                </c:pt>
                <c:pt idx="4">
                  <c:v>2.9380000000000002</c:v>
                </c:pt>
                <c:pt idx="5">
                  <c:v>0.39300000000000002</c:v>
                </c:pt>
              </c:numCache>
            </c:numRef>
          </c:yVal>
          <c:bubbleSize>
            <c:numRef>
              <c:f>Sheet1!$C$2:$C$7</c:f>
              <c:numCache>
                <c:formatCode>General</c:formatCode>
                <c:ptCount val="6"/>
                <c:pt idx="0">
                  <c:v>76293336</c:v>
                </c:pt>
                <c:pt idx="1">
                  <c:v>27395964</c:v>
                </c:pt>
                <c:pt idx="2">
                  <c:v>10560365</c:v>
                </c:pt>
                <c:pt idx="3">
                  <c:v>7933143</c:v>
                </c:pt>
                <c:pt idx="4">
                  <c:v>6690760</c:v>
                </c:pt>
                <c:pt idx="5">
                  <c:v>4749286</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Caribbean Beach</c:v>
                  </c:pt>
                  <c:pt idx="3">
                    <c:v>Banana Boat</c:v>
                  </c:pt>
                  <c:pt idx="4">
                    <c:v>Garnier</c:v>
                  </c:pt>
                  <c:pt idx="5">
                    <c:v>Nuv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0"/>
          <c:min val="5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29C198-535A-4B00-8679-5F0428E73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64DE884-619D-480F-8EEA-A5936A0F76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05E5E03-4B96-4427-9B5C-34322D726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9A60B6D-8819-4513-B9A9-BC8D430362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4403F26-E8BC-41A2-A402-9FA6F5EAE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7FCEB3A-E842-4765-812E-D54CD4023F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B72583A-C116-48D9-8B08-DC4AC5FD8E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175E22F-7713-4F79-B26C-51C2C9EA7B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3.48149999999998</c:v>
                </c:pt>
                <c:pt idx="1">
                  <c:v>342.19639999999998</c:v>
                </c:pt>
              </c:numCache>
            </c:numRef>
          </c:xVal>
          <c:yVal>
            <c:numRef>
              <c:f>Sheet1!$B$2:$B$3</c:f>
              <c:numCache>
                <c:formatCode>General</c:formatCode>
                <c:ptCount val="2"/>
                <c:pt idx="0">
                  <c:v>0.99299999999999999</c:v>
                </c:pt>
                <c:pt idx="1">
                  <c:v>0</c:v>
                </c:pt>
              </c:numCache>
            </c:numRef>
          </c:yVal>
          <c:bubbleSize>
            <c:numRef>
              <c:f>Sheet1!$C$2:$C$3</c:f>
              <c:numCache>
                <c:formatCode>General</c:formatCode>
                <c:ptCount val="2"/>
                <c:pt idx="0">
                  <c:v>5359907</c:v>
                </c:pt>
                <c:pt idx="1">
                  <c:v>38326</c:v>
                </c:pt>
              </c:numCache>
            </c:numRef>
          </c:bubbleSize>
          <c:bubble3D val="0"/>
          <c:extLst>
            <c:ext xmlns:c15="http://schemas.microsoft.com/office/drawing/2012/chart" uri="{02D57815-91ED-43cb-92C2-25804820EDAC}">
              <c15:datalabelsRange>
                <c15:f>Sheet1!$E$2:$E$10</c15:f>
                <c15:dlblRangeCache>
                  <c:ptCount val="9"/>
                  <c:pt idx="0">
                    <c:v>Nivea</c:v>
                  </c:pt>
                  <c:pt idx="1">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1"/>
          <c:min val="25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A8B11A-57FC-427B-BAB2-15C4537BA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A5F5594-5142-4EB0-B012-C8F640E5E4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C6C070A-6394-43E0-AC4E-8CF673156F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DDEEC32-F6E8-40BC-8342-A9B11BB01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5E034B8-65FA-473B-81E5-BB75694806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D5091F9-6BC6-48E9-8B54-24D55D24FD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E455AEB-54CC-4B38-8E06-B992E2E0B5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46E7760-97E8-4E81-8ABD-C10A716212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37.60390000000001</c:v>
                </c:pt>
              </c:numCache>
            </c:numRef>
          </c:xVal>
          <c:yVal>
            <c:numRef>
              <c:f>Sheet1!$B$2:$B$2</c:f>
              <c:numCache>
                <c:formatCode>General</c:formatCode>
                <c:ptCount val="1"/>
                <c:pt idx="0">
                  <c:v>0.98399999999999999</c:v>
                </c:pt>
              </c:numCache>
            </c:numRef>
          </c:yVal>
          <c:bubbleSize>
            <c:numRef>
              <c:f>Sheet1!$C$2:$C$2</c:f>
              <c:numCache>
                <c:formatCode>General</c:formatCode>
                <c:ptCount val="1"/>
                <c:pt idx="0">
                  <c:v>30352613</c:v>
                </c:pt>
              </c:numCache>
            </c:numRef>
          </c:bubbleSize>
          <c:bubble3D val="0"/>
          <c:extLst>
            <c:ext xmlns:c15="http://schemas.microsoft.com/office/drawing/2012/chart" uri="{02D57815-91ED-43cb-92C2-25804820EDAC}">
              <c15:datalabelsRange>
                <c15:f>Sheet1!$E$2:$E$10</c15:f>
                <c15:dlblRangeCache>
                  <c:ptCount val="9"/>
                  <c:pt idx="0">
                    <c:v>Nive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05"/>
          <c:min val="2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AAD2945-1999-4B78-BEB1-EB5A0E9B9A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76F6D7-100A-45CB-B134-4EF79561C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CE78AD1-1F5D-4987-A656-12B048330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1DF94F-D9D3-40DB-8542-3361FB513E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AFA63CB-1B6A-4083-AD5E-4138339DF4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DBE3507-28ED-4F49-A8F3-3CE7BCAF0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92768C9-597B-4F65-BC4F-5DD3827F3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A5A8A64-3329-4387-8970-79DBEAE663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47.43469999999999</c:v>
                </c:pt>
                <c:pt idx="1">
                  <c:v>268.28949999999998</c:v>
                </c:pt>
                <c:pt idx="2">
                  <c:v>151.3416</c:v>
                </c:pt>
                <c:pt idx="3">
                  <c:v>282.38249999999999</c:v>
                </c:pt>
              </c:numCache>
            </c:numRef>
          </c:xVal>
          <c:yVal>
            <c:numRef>
              <c:f>Sheet1!$B$2:$B$5</c:f>
              <c:numCache>
                <c:formatCode>General</c:formatCode>
                <c:ptCount val="4"/>
                <c:pt idx="0">
                  <c:v>0.91800000000000004</c:v>
                </c:pt>
                <c:pt idx="1">
                  <c:v>0.79100000000000004</c:v>
                </c:pt>
                <c:pt idx="2">
                  <c:v>0.81599999999999995</c:v>
                </c:pt>
                <c:pt idx="3">
                  <c:v>6.8179999999999996</c:v>
                </c:pt>
              </c:numCache>
            </c:numRef>
          </c:yVal>
          <c:bubbleSize>
            <c:numRef>
              <c:f>Sheet1!$C$2:$C$5</c:f>
              <c:numCache>
                <c:formatCode>General</c:formatCode>
                <c:ptCount val="4"/>
                <c:pt idx="0">
                  <c:v>75533658</c:v>
                </c:pt>
                <c:pt idx="1">
                  <c:v>40135848</c:v>
                </c:pt>
                <c:pt idx="2">
                  <c:v>26641268</c:v>
                </c:pt>
                <c:pt idx="3">
                  <c:v>530032</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9"/>
          <c:min val="1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07A92F-52C8-42A4-B628-35ABE342E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FF765A-816C-42A3-8162-99C2992DD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D3256A4-4F1A-4FE2-8A39-60E0370D3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4734633-A289-4179-9C79-AFE6906493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2546C68-59D5-42CE-9575-CFBFD3D9AB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EFD1168-7F55-4DB1-96F4-45BA24440E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ED7DC74-386C-44AB-BFB1-5CE8112A91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D7AC3F6-D038-49BB-AAA9-0FD81060BE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25.98270000000002</c:v>
                </c:pt>
                <c:pt idx="1">
                  <c:v>412.82</c:v>
                </c:pt>
                <c:pt idx="2">
                  <c:v>264.61829999999998</c:v>
                </c:pt>
              </c:numCache>
            </c:numRef>
          </c:xVal>
          <c:yVal>
            <c:numRef>
              <c:f>Sheet1!$B$2:$B$4</c:f>
              <c:numCache>
                <c:formatCode>General</c:formatCode>
                <c:ptCount val="3"/>
                <c:pt idx="0">
                  <c:v>0.91300000000000003</c:v>
                </c:pt>
                <c:pt idx="1">
                  <c:v>4.5359999999999996</c:v>
                </c:pt>
                <c:pt idx="2">
                  <c:v>0.65800000000000003</c:v>
                </c:pt>
              </c:numCache>
            </c:numRef>
          </c:yVal>
          <c:bubbleSize>
            <c:numRef>
              <c:f>Sheet1!$C$2:$C$4</c:f>
              <c:numCache>
                <c:formatCode>General</c:formatCode>
                <c:ptCount val="3"/>
                <c:pt idx="0">
                  <c:v>14610870</c:v>
                </c:pt>
                <c:pt idx="1">
                  <c:v>1969977</c:v>
                </c:pt>
                <c:pt idx="2">
                  <c:v>377875</c:v>
                </c:pt>
              </c:numCache>
            </c:numRef>
          </c:bubbleSize>
          <c:bubble3D val="0"/>
          <c:extLst>
            <c:ext xmlns:c15="http://schemas.microsoft.com/office/drawing/2012/chart" uri="{02D57815-91ED-43cb-92C2-25804820EDAC}">
              <c15:datalabelsRange>
                <c15:f>Sheet1!$E$2:$E$10</c15:f>
                <c15:dlblRangeCache>
                  <c:ptCount val="9"/>
                  <c:pt idx="0">
                    <c:v>Banana Boat</c:v>
                  </c:pt>
                  <c:pt idx="1">
                    <c:v>Mustela</c:v>
                  </c:pt>
                  <c:pt idx="2">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5"/>
          <c:min val="21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CDAB94-E741-4209-B6A4-3D5B1FC8D9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207708F-0CEF-4121-9028-1EEF56BDA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B3EC3BB-66B0-4ADC-BC7F-320B921A6C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A3D90A4-2D16-43AE-8545-4FC64CCBD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94A8E74-CB23-43E2-B67C-2ACA8C0A0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A638D72-F83B-4606-B1EB-9A344F08E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E42E8C4-FC91-479E-9C51-BE693C8AE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DBEC422-1DBB-4C00-AC42-3A769E8860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34.5549</c:v>
                </c:pt>
              </c:numCache>
            </c:numRef>
          </c:xVal>
          <c:yVal>
            <c:numRef>
              <c:f>Sheet1!$B$2:$B$2</c:f>
              <c:numCache>
                <c:formatCode>General</c:formatCode>
                <c:ptCount val="1"/>
                <c:pt idx="0">
                  <c:v>0.80300000000000005</c:v>
                </c:pt>
              </c:numCache>
            </c:numRef>
          </c:yVal>
          <c:bubbleSize>
            <c:numRef>
              <c:f>Sheet1!$C$2:$C$2</c:f>
              <c:numCache>
                <c:formatCode>General</c:formatCode>
                <c:ptCount val="1"/>
                <c:pt idx="0">
                  <c:v>3247882</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1"/>
          <c:min val="18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255E9DA-2D22-4E44-AB33-9343BD62E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639E701-54DD-41FA-A6A3-E28F69504C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7CDB9B1-8802-4019-94B7-A2A1BB050B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D31B658-5ACF-4ADF-93B6-FAA52AC01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A65EC30-08E0-49AE-897A-273D488FBB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40489AF-0130-4EAB-B930-E37ABC36E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D7B0098-FE6C-41DE-AD7B-9DD1B69BC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78C54FE-DA79-4703-9F55-891D17C7A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21.38740000000001</c:v>
                </c:pt>
              </c:numCache>
            </c:numRef>
          </c:xVal>
          <c:yVal>
            <c:numRef>
              <c:f>Sheet1!$B$2:$B$2</c:f>
              <c:numCache>
                <c:formatCode>General</c:formatCode>
                <c:ptCount val="1"/>
                <c:pt idx="0">
                  <c:v>0.94599999999999995</c:v>
                </c:pt>
              </c:numCache>
            </c:numRef>
          </c:yVal>
          <c:bubbleSize>
            <c:numRef>
              <c:f>Sheet1!$C$2:$C$2</c:f>
              <c:numCache>
                <c:formatCode>General</c:formatCode>
                <c:ptCount val="1"/>
                <c:pt idx="0">
                  <c:v>73722</c:v>
                </c:pt>
              </c:numCache>
            </c:numRef>
          </c:bubbleSize>
          <c:bubble3D val="0"/>
          <c:extLst>
            <c:ext xmlns:c15="http://schemas.microsoft.com/office/drawing/2012/chart" uri="{02D57815-91ED-43cb-92C2-25804820EDAC}">
              <c15:datalabelsRange>
                <c15:f>Sheet1!$E$2:$E$10</c15:f>
                <c15:dlblRangeCache>
                  <c:ptCount val="9"/>
                  <c:pt idx="0">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6"/>
          <c:min val="17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197B900-3B2E-4BF2-8A75-5D962C25F2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8518D7B-6FE8-4C5E-A4BA-2E6495AC8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0FF0A88-F6F3-461A-BA84-279149C448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92ED63E-B164-479B-8CBC-B83A790C9D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521CBE9-E0EE-4425-A3B1-156B870112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EBF2397-BECC-4847-B20F-F547088BF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1C1E9B9-57D4-4B0F-AC16-69ADAABEC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8409004-85EA-47CB-9B5E-06490295B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574.96820000000002</c:v>
                </c:pt>
                <c:pt idx="1">
                  <c:v>652.13699999999994</c:v>
                </c:pt>
                <c:pt idx="2">
                  <c:v>698.27750000000003</c:v>
                </c:pt>
                <c:pt idx="3">
                  <c:v>760.58529999999996</c:v>
                </c:pt>
                <c:pt idx="4">
                  <c:v>776.75390000000004</c:v>
                </c:pt>
              </c:numCache>
            </c:numRef>
          </c:xVal>
          <c:yVal>
            <c:numRef>
              <c:f>Sheet1!$B$2:$B$6</c:f>
              <c:numCache>
                <c:formatCode>General</c:formatCode>
                <c:ptCount val="5"/>
                <c:pt idx="0">
                  <c:v>1.4930000000000001</c:v>
                </c:pt>
                <c:pt idx="1">
                  <c:v>0.72499999999999998</c:v>
                </c:pt>
                <c:pt idx="2">
                  <c:v>0.77600000000000002</c:v>
                </c:pt>
                <c:pt idx="3">
                  <c:v>4.1470000000000002</c:v>
                </c:pt>
                <c:pt idx="4">
                  <c:v>0.94099999999999995</c:v>
                </c:pt>
              </c:numCache>
            </c:numRef>
          </c:yVal>
          <c:bubbleSize>
            <c:numRef>
              <c:f>Sheet1!$C$2:$C$6</c:f>
              <c:numCache>
                <c:formatCode>General</c:formatCode>
                <c:ptCount val="5"/>
                <c:pt idx="0">
                  <c:v>22969979</c:v>
                </c:pt>
                <c:pt idx="1">
                  <c:v>21728553</c:v>
                </c:pt>
                <c:pt idx="2">
                  <c:v>3737181</c:v>
                </c:pt>
                <c:pt idx="3">
                  <c:v>2341842</c:v>
                </c:pt>
                <c:pt idx="4">
                  <c:v>602761</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Heliocare</c:v>
                  </c:pt>
                  <c:pt idx="3">
                    <c:v>Vichy</c:v>
                  </c:pt>
                  <c:pt idx="4">
                    <c:v>Av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32"/>
          <c:min val="4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C0C0A1-7987-4DC7-9519-BC40F2AF7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318BC34-0B27-4858-928E-83C1CD0F5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2C0204A-80CC-4D7E-91D6-F001C0E6D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56A3BA2-3D66-44DE-B925-9C44605D9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F106ED2-4E85-455C-AC73-E16CEA82FD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0C1A737-1BCD-4C01-A6E6-05FD4A90E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556B761-63F3-4FD9-8EF8-4E2785E7C8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BF3C5CF-D4F3-4CD5-9738-A0E82C593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05699999999999</c:v>
                </c:pt>
              </c:numCache>
            </c:numRef>
          </c:xVal>
          <c:yVal>
            <c:numRef>
              <c:f>Sheet1!$B$2:$B$2</c:f>
              <c:numCache>
                <c:formatCode>General</c:formatCode>
                <c:ptCount val="1"/>
                <c:pt idx="0">
                  <c:v>0.93899999999999995</c:v>
                </c:pt>
              </c:numCache>
            </c:numRef>
          </c:yVal>
          <c:bubbleSize>
            <c:numRef>
              <c:f>Sheet1!$C$2:$C$2</c:f>
              <c:numCache>
                <c:formatCode>General</c:formatCode>
                <c:ptCount val="1"/>
                <c:pt idx="0">
                  <c:v>13435038</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8"/>
          <c:min val="17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A356C7D-68D0-423D-AE44-852525ADF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B5A548-EBE6-4D84-9C7B-A515031F0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9AAA4D6-3756-4B94-B2CE-EF8318C247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14CD23D-99C4-4BB8-87F6-2A145C45D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09AFF4-77A8-499D-89E1-F097CAC660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13D83DA-34BD-4148-AB3D-25F3FCA57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B425F5C-BD2A-4C16-ACEA-658DF3C09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79389CA-C9F9-4BCA-8B06-8FCC2902AE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26.56700000000001</c:v>
                </c:pt>
                <c:pt idx="1">
                  <c:v>681.67589999999996</c:v>
                </c:pt>
                <c:pt idx="2">
                  <c:v>684.12149999999997</c:v>
                </c:pt>
                <c:pt idx="3">
                  <c:v>728.54459999999995</c:v>
                </c:pt>
                <c:pt idx="4">
                  <c:v>322.411</c:v>
                </c:pt>
                <c:pt idx="5">
                  <c:v>627.55100000000004</c:v>
                </c:pt>
                <c:pt idx="6">
                  <c:v>745.46540000000005</c:v>
                </c:pt>
                <c:pt idx="7">
                  <c:v>778.24239999999998</c:v>
                </c:pt>
              </c:numCache>
            </c:numRef>
          </c:xVal>
          <c:yVal>
            <c:numRef>
              <c:f>Sheet1!$B$2:$B$9</c:f>
              <c:numCache>
                <c:formatCode>General</c:formatCode>
                <c:ptCount val="8"/>
                <c:pt idx="0">
                  <c:v>1.4990000000000001</c:v>
                </c:pt>
                <c:pt idx="1">
                  <c:v>0.88600000000000001</c:v>
                </c:pt>
                <c:pt idx="2">
                  <c:v>1.492</c:v>
                </c:pt>
                <c:pt idx="3">
                  <c:v>1.0069999999999999</c:v>
                </c:pt>
                <c:pt idx="4">
                  <c:v>0.42899999999999999</c:v>
                </c:pt>
                <c:pt idx="5">
                  <c:v>1.5289999999999999</c:v>
                </c:pt>
                <c:pt idx="6">
                  <c:v>2.7610000000000001</c:v>
                </c:pt>
                <c:pt idx="7">
                  <c:v>0.65700000000000003</c:v>
                </c:pt>
              </c:numCache>
            </c:numRef>
          </c:yVal>
          <c:bubbleSize>
            <c:numRef>
              <c:f>Sheet1!$C$2:$C$9</c:f>
              <c:numCache>
                <c:formatCode>General</c:formatCode>
                <c:ptCount val="8"/>
                <c:pt idx="0">
                  <c:v>236836703</c:v>
                </c:pt>
                <c:pt idx="1">
                  <c:v>115896495</c:v>
                </c:pt>
                <c:pt idx="2">
                  <c:v>79984060</c:v>
                </c:pt>
                <c:pt idx="3">
                  <c:v>77229369</c:v>
                </c:pt>
                <c:pt idx="4">
                  <c:v>58967363</c:v>
                </c:pt>
                <c:pt idx="5">
                  <c:v>44488346</c:v>
                </c:pt>
                <c:pt idx="6">
                  <c:v>42071086</c:v>
                </c:pt>
                <c:pt idx="7">
                  <c:v>39507474</c:v>
                </c:pt>
              </c:numCache>
            </c:numRef>
          </c:bubbleSize>
          <c:bubble3D val="0"/>
          <c:extLst>
            <c:ext xmlns:c15="http://schemas.microsoft.com/office/drawing/2012/chart" uri="{02D57815-91ED-43cb-92C2-25804820EDAC}">
              <c15:datalabelsRange>
                <c15:f>Sheet1!$E$2:$E$10</c15:f>
                <c15:dlblRangeCache>
                  <c:ptCount val="9"/>
                  <c:pt idx="0">
                    <c:v>Isdin</c:v>
                  </c:pt>
                  <c:pt idx="1">
                    <c:v>Avene</c:v>
                  </c:pt>
                  <c:pt idx="2">
                    <c:v>La Roche-Posay</c:v>
                  </c:pt>
                  <c:pt idx="3">
                    <c:v>Eucerin</c:v>
                  </c:pt>
                  <c:pt idx="4">
                    <c:v>Neutrogena</c:v>
                  </c:pt>
                  <c:pt idx="5">
                    <c:v>Heliocare</c:v>
                  </c:pt>
                  <c:pt idx="6">
                    <c:v>Photoderm</c:v>
                  </c:pt>
                  <c:pt idx="7">
                    <c:v>Vich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34"/>
          <c:min val="25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290C655-255A-4557-8BE5-DAEF80B623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63EE61-08ED-46E9-BCD0-27C3295C71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AF770B-4925-41B0-92F4-B8624615C4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EB8300-1CF2-41B1-85F8-E915908F98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E968565-7002-4E33-8389-00C2DAFD62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FECA04-2DD2-4044-934D-6ABA812EE2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244736D-32E7-4EEC-A6CE-D7644DA92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98E34D1-08EA-4BE1-8F4B-1F157CB50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29.39239999999995</c:v>
                </c:pt>
                <c:pt idx="1">
                  <c:v>646.77200000000005</c:v>
                </c:pt>
                <c:pt idx="2">
                  <c:v>772.65</c:v>
                </c:pt>
                <c:pt idx="3">
                  <c:v>639.43899999999996</c:v>
                </c:pt>
                <c:pt idx="4">
                  <c:v>619.71360000000004</c:v>
                </c:pt>
                <c:pt idx="5">
                  <c:v>658.16420000000005</c:v>
                </c:pt>
              </c:numCache>
            </c:numRef>
          </c:xVal>
          <c:yVal>
            <c:numRef>
              <c:f>Sheet1!$B$2:$B$7</c:f>
              <c:numCache>
                <c:formatCode>General</c:formatCode>
                <c:ptCount val="6"/>
                <c:pt idx="0">
                  <c:v>0.91700000000000004</c:v>
                </c:pt>
                <c:pt idx="1">
                  <c:v>0.96099999999999997</c:v>
                </c:pt>
                <c:pt idx="2">
                  <c:v>1.2529999999999999</c:v>
                </c:pt>
                <c:pt idx="3">
                  <c:v>0.92600000000000005</c:v>
                </c:pt>
                <c:pt idx="4">
                  <c:v>0.91100000000000003</c:v>
                </c:pt>
                <c:pt idx="5">
                  <c:v>1.45</c:v>
                </c:pt>
              </c:numCache>
            </c:numRef>
          </c:yVal>
          <c:bubbleSize>
            <c:numRef>
              <c:f>Sheet1!$C$2:$C$7</c:f>
              <c:numCache>
                <c:formatCode>General</c:formatCode>
                <c:ptCount val="6"/>
                <c:pt idx="0">
                  <c:v>120217088</c:v>
                </c:pt>
                <c:pt idx="1">
                  <c:v>55895332</c:v>
                </c:pt>
                <c:pt idx="2">
                  <c:v>51773732</c:v>
                </c:pt>
                <c:pt idx="3">
                  <c:v>23370856</c:v>
                </c:pt>
                <c:pt idx="4">
                  <c:v>16949787</c:v>
                </c:pt>
                <c:pt idx="5">
                  <c:v>15586645</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Heliocare</c:v>
                  </c:pt>
                  <c:pt idx="4">
                    <c:v>Eucerin</c:v>
                  </c:pt>
                  <c:pt idx="5">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27"/>
          <c:min val="49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00ED8B-96E9-429F-82F9-1D7670A75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283429-462A-4762-9CDA-8A307A0993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16D7A52-8CC8-4640-BF6D-B84164D51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9EF6E10-FEC1-4B09-B96F-7D28AAFFB0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74BCD0C-C8D4-4A28-846B-B05838E591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7975182-FB7B-4F73-867A-505156195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1CF6486-1119-4786-9AC9-0C4C417B4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9D98B12-4600-4126-A107-44354306C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40.50599999999997</c:v>
                </c:pt>
                <c:pt idx="1">
                  <c:v>648.19640000000004</c:v>
                </c:pt>
                <c:pt idx="2">
                  <c:v>586.74339999999995</c:v>
                </c:pt>
                <c:pt idx="3">
                  <c:v>661.21299999999997</c:v>
                </c:pt>
                <c:pt idx="4">
                  <c:v>786.29650000000004</c:v>
                </c:pt>
                <c:pt idx="5">
                  <c:v>523.94230000000005</c:v>
                </c:pt>
              </c:numCache>
            </c:numRef>
          </c:xVal>
          <c:yVal>
            <c:numRef>
              <c:f>Sheet1!$B$2:$B$7</c:f>
              <c:numCache>
                <c:formatCode>General</c:formatCode>
                <c:ptCount val="6"/>
                <c:pt idx="0">
                  <c:v>0.48799999999999999</c:v>
                </c:pt>
                <c:pt idx="1">
                  <c:v>2.4420000000000002</c:v>
                </c:pt>
                <c:pt idx="2">
                  <c:v>2.2029999999999998</c:v>
                </c:pt>
                <c:pt idx="3">
                  <c:v>2.2400000000000002</c:v>
                </c:pt>
                <c:pt idx="4">
                  <c:v>4.9870000000000001</c:v>
                </c:pt>
                <c:pt idx="5">
                  <c:v>0.98</c:v>
                </c:pt>
              </c:numCache>
            </c:numRef>
          </c:yVal>
          <c:bubbleSize>
            <c:numRef>
              <c:f>Sheet1!$C$2:$C$7</c:f>
              <c:numCache>
                <c:formatCode>General</c:formatCode>
                <c:ptCount val="6"/>
                <c:pt idx="0">
                  <c:v>88726737</c:v>
                </c:pt>
                <c:pt idx="1">
                  <c:v>69410170</c:v>
                </c:pt>
                <c:pt idx="2">
                  <c:v>51697378</c:v>
                </c:pt>
                <c:pt idx="3">
                  <c:v>21966819</c:v>
                </c:pt>
                <c:pt idx="4">
                  <c:v>10846174</c:v>
                </c:pt>
                <c:pt idx="5">
                  <c:v>4515335</c:v>
                </c:pt>
              </c:numCache>
            </c:numRef>
          </c:bubbleSize>
          <c:bubble3D val="0"/>
          <c:extLst>
            <c:ext xmlns:c15="http://schemas.microsoft.com/office/drawing/2012/chart" uri="{02D57815-91ED-43cb-92C2-25804820EDAC}">
              <c15:datalabelsRange>
                <c15:f>Sheet1!$E$2:$E$10</c15:f>
                <c15:dlblRangeCache>
                  <c:ptCount val="9"/>
                  <c:pt idx="0">
                    <c:v>Isdin</c:v>
                  </c:pt>
                  <c:pt idx="1">
                    <c:v>Eucerin</c:v>
                  </c:pt>
                  <c:pt idx="2">
                    <c:v>La Roche-Posay</c:v>
                  </c:pt>
                  <c:pt idx="3">
                    <c:v>Heliocare</c:v>
                  </c:pt>
                  <c:pt idx="4">
                    <c:v>Photoderm</c:v>
                  </c:pt>
                  <c:pt idx="5">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4"/>
          <c:min val="4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1A855FA-009E-4BA6-91A6-79C5311B20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2817B3-9BD4-44FE-8698-915388E667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0F44E84-912F-417C-8C8C-97EAB6E2E7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E03B425-EAB1-492A-84EE-8421BBE19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0712027-6003-47EA-8EF1-74FF07E5A8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AE93816-8BD7-412F-B69B-713CD04AE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901A629-32BF-4AE2-BB85-94DE8E613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07258AC-A3CF-40F3-BAAD-5BC34D458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93.9</c:v>
                </c:pt>
                <c:pt idx="1">
                  <c:v>831.80759999999998</c:v>
                </c:pt>
              </c:numCache>
            </c:numRef>
          </c:xVal>
          <c:yVal>
            <c:numRef>
              <c:f>Sheet1!$B$2:$B$3</c:f>
              <c:numCache>
                <c:formatCode>General</c:formatCode>
                <c:ptCount val="2"/>
                <c:pt idx="0">
                  <c:v>0.88400000000000001</c:v>
                </c:pt>
                <c:pt idx="1">
                  <c:v>2.4860000000000002</c:v>
                </c:pt>
              </c:numCache>
            </c:numRef>
          </c:yVal>
          <c:bubbleSize>
            <c:numRef>
              <c:f>Sheet1!$C$2:$C$3</c:f>
              <c:numCache>
                <c:formatCode>General</c:formatCode>
                <c:ptCount val="2"/>
                <c:pt idx="0">
                  <c:v>31886093</c:v>
                </c:pt>
                <c:pt idx="1">
                  <c:v>6997997</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98"/>
          <c:min val="55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7169A49-02D0-4E12-B23B-D1C7284570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DB74BF1-803C-49AE-A59B-E615976E6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92E8D48-ECE9-4DD4-8577-2728047261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8D3D2B-2199-4AA0-A5E0-D870993D1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506989A-E10A-4AB5-8FC6-0EC6C9ED28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29EB142-5FE6-4DC2-8C91-CD3497B04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D0F84AE-D8DC-4050-9252-C8620BF21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F7D451E-8232-4008-8D50-FEDC21DCBD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37.64200000000005</c:v>
                </c:pt>
                <c:pt idx="1">
                  <c:v>877.44539999999995</c:v>
                </c:pt>
                <c:pt idx="2">
                  <c:v>614.92139999999995</c:v>
                </c:pt>
                <c:pt idx="3">
                  <c:v>524.34870000000001</c:v>
                </c:pt>
                <c:pt idx="4">
                  <c:v>231.5067</c:v>
                </c:pt>
                <c:pt idx="5">
                  <c:v>797.26059999999995</c:v>
                </c:pt>
                <c:pt idx="6">
                  <c:v>885.49980000000005</c:v>
                </c:pt>
                <c:pt idx="7">
                  <c:v>804.7115</c:v>
                </c:pt>
              </c:numCache>
            </c:numRef>
          </c:xVal>
          <c:yVal>
            <c:numRef>
              <c:f>Sheet1!$B$2:$B$9</c:f>
              <c:numCache>
                <c:formatCode>General</c:formatCode>
                <c:ptCount val="8"/>
                <c:pt idx="0">
                  <c:v>1.5169999999999999</c:v>
                </c:pt>
                <c:pt idx="1">
                  <c:v>1.6479999999999999</c:v>
                </c:pt>
                <c:pt idx="2">
                  <c:v>0.48199999999999998</c:v>
                </c:pt>
                <c:pt idx="3">
                  <c:v>0.78400000000000003</c:v>
                </c:pt>
                <c:pt idx="4">
                  <c:v>1.18</c:v>
                </c:pt>
                <c:pt idx="5">
                  <c:v>0.87</c:v>
                </c:pt>
                <c:pt idx="6">
                  <c:v>0.872</c:v>
                </c:pt>
                <c:pt idx="7">
                  <c:v>0.85</c:v>
                </c:pt>
              </c:numCache>
            </c:numRef>
          </c:yVal>
          <c:bubbleSize>
            <c:numRef>
              <c:f>Sheet1!$C$2:$C$9</c:f>
              <c:numCache>
                <c:formatCode>General</c:formatCode>
                <c:ptCount val="8"/>
                <c:pt idx="0">
                  <c:v>13405148</c:v>
                </c:pt>
                <c:pt idx="1">
                  <c:v>8344506</c:v>
                </c:pt>
                <c:pt idx="2">
                  <c:v>7937406</c:v>
                </c:pt>
                <c:pt idx="3">
                  <c:v>7648674</c:v>
                </c:pt>
                <c:pt idx="4">
                  <c:v>6738929</c:v>
                </c:pt>
                <c:pt idx="5">
                  <c:v>6171594</c:v>
                </c:pt>
                <c:pt idx="6">
                  <c:v>2581232</c:v>
                </c:pt>
                <c:pt idx="7">
                  <c:v>2256411</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Avene</c:v>
                  </c:pt>
                  <c:pt idx="3">
                    <c:v>Cetaphil</c:v>
                  </c:pt>
                  <c:pt idx="4">
                    <c:v>Loreal Paris</c:v>
                  </c:pt>
                  <c:pt idx="5">
                    <c:v>Eucerin</c:v>
                  </c:pt>
                  <c:pt idx="6">
                    <c:v>Photoderm</c:v>
                  </c:pt>
                  <c:pt idx="7">
                    <c:v>Vich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63"/>
          <c:min val="18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1A857B-EEA7-48A2-8A08-536B8D58AB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498E2C-BCC2-4210-AD6C-7AC382885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BE202D4-5E13-4181-B37A-C42EA4CAA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900CBBF-FE10-44B3-9393-440F0260C9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995192F-EA39-48F6-A8AB-11EBA4E31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BBAAA86-727B-4E3E-946C-F3C4F1D0C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98C527D-C10E-49AD-83C2-2828EDE5F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19F1ACB-37D8-43ED-A205-5BC9712BC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48.63059999999996</c:v>
                </c:pt>
                <c:pt idx="1">
                  <c:v>331.2047</c:v>
                </c:pt>
                <c:pt idx="2">
                  <c:v>721.35090000000002</c:v>
                </c:pt>
              </c:numCache>
            </c:numRef>
          </c:xVal>
          <c:yVal>
            <c:numRef>
              <c:f>Sheet1!$B$2:$B$4</c:f>
              <c:numCache>
                <c:formatCode>General</c:formatCode>
                <c:ptCount val="3"/>
                <c:pt idx="0">
                  <c:v>0.748</c:v>
                </c:pt>
                <c:pt idx="1">
                  <c:v>1.484</c:v>
                </c:pt>
                <c:pt idx="2">
                  <c:v>1.32</c:v>
                </c:pt>
              </c:numCache>
            </c:numRef>
          </c:yVal>
          <c:bubbleSize>
            <c:numRef>
              <c:f>Sheet1!$C$2:$C$4</c:f>
              <c:numCache>
                <c:formatCode>General</c:formatCode>
                <c:ptCount val="3"/>
                <c:pt idx="0">
                  <c:v>4895215</c:v>
                </c:pt>
                <c:pt idx="1">
                  <c:v>2831469</c:v>
                </c:pt>
                <c:pt idx="2">
                  <c:v>2783693</c:v>
                </c:pt>
              </c:numCache>
            </c:numRef>
          </c:bubbleSize>
          <c:bubble3D val="0"/>
          <c:extLst>
            <c:ext xmlns:c15="http://schemas.microsoft.com/office/drawing/2012/chart" uri="{02D57815-91ED-43cb-92C2-25804820EDAC}">
              <c15:datalabelsRange>
                <c15:f>Sheet1!$E$2:$E$10</c15:f>
                <c15:dlblRangeCache>
                  <c:ptCount val="9"/>
                  <c:pt idx="0">
                    <c:v>Isdin</c:v>
                  </c:pt>
                  <c:pt idx="1">
                    <c:v>Eclipsol</c:v>
                  </c:pt>
                  <c:pt idx="2">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6"/>
          <c:min val="26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940B5B-1D49-400B-B81B-B1C07DC311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98A99E-444D-4798-AF55-F9F2323C7A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A994D6-A8B2-4CB3-8285-C20F117D8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BE455DB-EFB3-4FD0-9293-D763EE4C4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FAC58C8-67C6-4449-89BF-4FF4571107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547840A-D06E-48FF-896C-4A2EE99490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67F1F2D-3009-4977-9CFB-7B1CCFAB6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89E305F-BF6F-469E-80ED-737E6EB39B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750.1001</c:v>
                </c:pt>
                <c:pt idx="1">
                  <c:v>1110.2319</c:v>
                </c:pt>
                <c:pt idx="2">
                  <c:v>631.07150000000001</c:v>
                </c:pt>
              </c:numCache>
            </c:numRef>
          </c:xVal>
          <c:yVal>
            <c:numRef>
              <c:f>Sheet1!$B$2:$B$4</c:f>
              <c:numCache>
                <c:formatCode>General</c:formatCode>
                <c:ptCount val="3"/>
                <c:pt idx="0">
                  <c:v>0.88900000000000001</c:v>
                </c:pt>
                <c:pt idx="1">
                  <c:v>1.837</c:v>
                </c:pt>
                <c:pt idx="2">
                  <c:v>1.677</c:v>
                </c:pt>
              </c:numCache>
            </c:numRef>
          </c:yVal>
          <c:bubbleSize>
            <c:numRef>
              <c:f>Sheet1!$C$2:$C$4</c:f>
              <c:numCache>
                <c:formatCode>General</c:formatCode>
                <c:ptCount val="3"/>
                <c:pt idx="0">
                  <c:v>20864033</c:v>
                </c:pt>
                <c:pt idx="1">
                  <c:v>3767017</c:v>
                </c:pt>
                <c:pt idx="2">
                  <c:v>2206857</c:v>
                </c:pt>
              </c:numCache>
            </c:numRef>
          </c:bubbleSize>
          <c:bubble3D val="0"/>
          <c:extLst>
            <c:ext xmlns:c15="http://schemas.microsoft.com/office/drawing/2012/chart" uri="{02D57815-91ED-43cb-92C2-25804820EDAC}">
              <c15:datalabelsRange>
                <c15:f>Sheet1!$E$2:$E$10</c15:f>
                <c15:dlblRangeCache>
                  <c:ptCount val="9"/>
                  <c:pt idx="0">
                    <c:v>Photoderm</c:v>
                  </c:pt>
                  <c:pt idx="1">
                    <c:v>La Roche-Posay</c:v>
                  </c:pt>
                  <c:pt idx="2">
                    <c:v>Genov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32"/>
          <c:min val="50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921A71-ADCC-4C6A-B11C-2C73EC97D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52C0797-49EC-4002-BBBF-D498B4B673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AF060A8-E435-4CD6-9F59-583FA7FEF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C19F442-6DBD-4598-B91F-DFCCCE223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F1EDAD4-2B18-49EF-81E6-D8103EC467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95F4177-6413-4F6E-8B09-97D220712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327394B-F9B3-41A4-8104-F94BA97048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AD6A45B-7574-4BA4-9ECF-EDD5B7D5D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89.36520000000002</c:v>
                </c:pt>
              </c:numCache>
            </c:numRef>
          </c:xVal>
          <c:yVal>
            <c:numRef>
              <c:f>Sheet1!$B$2:$B$2</c:f>
              <c:numCache>
                <c:formatCode>General</c:formatCode>
                <c:ptCount val="1"/>
                <c:pt idx="0">
                  <c:v>1</c:v>
                </c:pt>
              </c:numCache>
            </c:numRef>
          </c:yVal>
          <c:bubbleSize>
            <c:numRef>
              <c:f>Sheet1!$C$2:$C$2</c:f>
              <c:numCache>
                <c:formatCode>General</c:formatCode>
                <c:ptCount val="1"/>
                <c:pt idx="0">
                  <c:v>30527089</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87"/>
          <c:min val="39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0F4C39-D9EA-413C-9A41-E75F16130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BB5489E-925F-4631-B3C9-6C0A6C378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E5C5445-952D-4381-84A8-5230E4149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FE4DED3-9327-488F-9AFE-CE697CCD7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E606115-C055-458C-BBAF-3FB9253C8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9B546D8-349D-4520-89B5-C19E6548E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BC49A03-DA3B-41A9-8711-1D0F38CC89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0E53DBE-8CAC-4973-8DF0-1AA73D9351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24880000000002</c:v>
                </c:pt>
                <c:pt idx="1">
                  <c:v>84.300399999999996</c:v>
                </c:pt>
              </c:numCache>
            </c:numRef>
          </c:xVal>
          <c:yVal>
            <c:numRef>
              <c:f>Sheet1!$B$2:$B$3</c:f>
              <c:numCache>
                <c:formatCode>General</c:formatCode>
                <c:ptCount val="2"/>
                <c:pt idx="0">
                  <c:v>1.1060000000000001</c:v>
                </c:pt>
                <c:pt idx="1">
                  <c:v>0.499</c:v>
                </c:pt>
              </c:numCache>
            </c:numRef>
          </c:yVal>
          <c:bubbleSize>
            <c:numRef>
              <c:f>Sheet1!$C$2:$C$3</c:f>
              <c:numCache>
                <c:formatCode>General</c:formatCode>
                <c:ptCount val="2"/>
                <c:pt idx="0">
                  <c:v>15642972</c:v>
                </c:pt>
                <c:pt idx="1">
                  <c:v>2486271</c:v>
                </c:pt>
              </c:numCache>
            </c:numRef>
          </c:bubbleSize>
          <c:bubble3D val="0"/>
          <c:extLst>
            <c:ext xmlns:c15="http://schemas.microsoft.com/office/drawing/2012/chart" uri="{02D57815-91ED-43cb-92C2-25804820EDAC}">
              <c15:datalabelsRange>
                <c15:f>Sheet1!$E$2:$E$10</c15:f>
                <c15:dlblRangeCache>
                  <c:ptCount val="9"/>
                  <c:pt idx="0">
                    <c:v>Banana Boat</c:v>
                  </c:pt>
                  <c:pt idx="1">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9"/>
          <c:min val="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15D68E-451B-4836-A785-BD2A24F77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86601EC-7D1A-4C75-878E-368E735C4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0A5F929-D4B3-425B-AF05-5CB2DC984C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61A2FAB-A46A-4A55-A27F-3AA196046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5CC3667-066F-4926-AEEE-9CADC62DE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A3C971A-894D-4EAC-8886-B57D32F98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6D9A581-BBE2-40A6-829A-907973BF54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ECF61E1-2EDE-4809-A56F-822E459E0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09.71090000000001</c:v>
                </c:pt>
                <c:pt idx="1">
                  <c:v>323.12200000000001</c:v>
                </c:pt>
              </c:numCache>
            </c:numRef>
          </c:xVal>
          <c:yVal>
            <c:numRef>
              <c:f>Sheet1!$B$2:$B$3</c:f>
              <c:numCache>
                <c:formatCode>General</c:formatCode>
                <c:ptCount val="2"/>
                <c:pt idx="0">
                  <c:v>0.96899999999999997</c:v>
                </c:pt>
                <c:pt idx="1">
                  <c:v>1.097</c:v>
                </c:pt>
              </c:numCache>
            </c:numRef>
          </c:yVal>
          <c:bubbleSize>
            <c:numRef>
              <c:f>Sheet1!$C$2:$C$3</c:f>
              <c:numCache>
                <c:formatCode>General</c:formatCode>
                <c:ptCount val="2"/>
                <c:pt idx="0">
                  <c:v>23517403</c:v>
                </c:pt>
                <c:pt idx="1">
                  <c:v>8644807</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88"/>
          <c:min val="1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A3633C-4892-472E-818A-A71300F66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53888B-3AED-4061-B291-BD30D613A5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22CDB1E-8F61-4B61-B23E-04B4CCE73E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22CF14-E754-4224-9CD2-D08FDFCC33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F6135C-C2AB-4C3A-9C0E-DB175D7CD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6B20A21-FDE9-42B4-850C-8D2E287C2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8BD873F-FFA8-4E77-9CE5-5151C42DB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99DD1E4-0274-4A22-ABCA-7E08C9CE5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0.75120000000001</c:v>
                </c:pt>
                <c:pt idx="1">
                  <c:v>612.90509999999995</c:v>
                </c:pt>
                <c:pt idx="2">
                  <c:v>219.54179999999999</c:v>
                </c:pt>
                <c:pt idx="3">
                  <c:v>589.39139999999998</c:v>
                </c:pt>
                <c:pt idx="4">
                  <c:v>212.96</c:v>
                </c:pt>
                <c:pt idx="5">
                  <c:v>659.04079999999999</c:v>
                </c:pt>
                <c:pt idx="6">
                  <c:v>682.5127</c:v>
                </c:pt>
                <c:pt idx="7">
                  <c:v>208.48599999999999</c:v>
                </c:pt>
              </c:numCache>
            </c:numRef>
          </c:xVal>
          <c:yVal>
            <c:numRef>
              <c:f>Sheet1!$B$2:$B$9</c:f>
              <c:numCache>
                <c:formatCode>General</c:formatCode>
                <c:ptCount val="8"/>
                <c:pt idx="0">
                  <c:v>0.73099999999999998</c:v>
                </c:pt>
                <c:pt idx="1">
                  <c:v>2.7789999999999999</c:v>
                </c:pt>
                <c:pt idx="2">
                  <c:v>0.501</c:v>
                </c:pt>
                <c:pt idx="3">
                  <c:v>4.625</c:v>
                </c:pt>
                <c:pt idx="4">
                  <c:v>0.48899999999999999</c:v>
                </c:pt>
                <c:pt idx="5">
                  <c:v>3.8980000000000001</c:v>
                </c:pt>
                <c:pt idx="6">
                  <c:v>3.4430000000000001</c:v>
                </c:pt>
                <c:pt idx="7">
                  <c:v>1.7370000000000001</c:v>
                </c:pt>
              </c:numCache>
            </c:numRef>
          </c:yVal>
          <c:bubbleSize>
            <c:numRef>
              <c:f>Sheet1!$C$2:$C$9</c:f>
              <c:numCache>
                <c:formatCode>General</c:formatCode>
                <c:ptCount val="8"/>
                <c:pt idx="0">
                  <c:v>726313442</c:v>
                </c:pt>
                <c:pt idx="1">
                  <c:v>560154823</c:v>
                </c:pt>
                <c:pt idx="2">
                  <c:v>374545370</c:v>
                </c:pt>
                <c:pt idx="3">
                  <c:v>354099274</c:v>
                </c:pt>
                <c:pt idx="4">
                  <c:v>315308437</c:v>
                </c:pt>
                <c:pt idx="5">
                  <c:v>246274334</c:v>
                </c:pt>
                <c:pt idx="6">
                  <c:v>224564421</c:v>
                </c:pt>
                <c:pt idx="7">
                  <c:v>12989092</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La Roche-Posay</c:v>
                  </c:pt>
                  <c:pt idx="4">
                    <c:v>Banana Boat</c:v>
                  </c:pt>
                  <c:pt idx="5">
                    <c:v>Eucerin</c:v>
                  </c:pt>
                  <c:pt idx="6">
                    <c:v>Avene</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9"/>
          <c:min val="16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035F3A0-284C-46CF-ACF8-8FEC5B8B9E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9E280EA-4108-4718-BF45-0868BE8296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3AB8D3F-9A32-4D1C-A6A1-A311BF7168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B25A2040-E80F-444A-962C-614CCA01F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4B6E9519-8ECF-4D77-848E-3E58D553E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F70CF950-62A3-4E0B-BBE9-2DA7F85D5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BC4FBF48-84D4-412B-B571-0CFBEB7AB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2FB4C5DA-CB02-4D1C-908C-1CD4046E5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63.82780000000002</c:v>
                </c:pt>
                <c:pt idx="1">
                  <c:v>348.69290000000001</c:v>
                </c:pt>
                <c:pt idx="2">
                  <c:v>318.44499999999999</c:v>
                </c:pt>
                <c:pt idx="3">
                  <c:v>398.262</c:v>
                </c:pt>
              </c:numCache>
            </c:numRef>
          </c:xVal>
          <c:yVal>
            <c:numRef>
              <c:f>Sheet1!$B$2:$B$5</c:f>
              <c:numCache>
                <c:formatCode>General</c:formatCode>
                <c:ptCount val="4"/>
                <c:pt idx="0">
                  <c:v>0.58799999999999997</c:v>
                </c:pt>
                <c:pt idx="1">
                  <c:v>2.06</c:v>
                </c:pt>
                <c:pt idx="2">
                  <c:v>2.1360000000000001</c:v>
                </c:pt>
                <c:pt idx="3">
                  <c:v>2.097</c:v>
                </c:pt>
              </c:numCache>
            </c:numRef>
          </c:yVal>
          <c:bubbleSize>
            <c:numRef>
              <c:f>Sheet1!$C$2:$C$5</c:f>
              <c:numCache>
                <c:formatCode>General</c:formatCode>
                <c:ptCount val="4"/>
                <c:pt idx="0">
                  <c:v>2320629</c:v>
                </c:pt>
                <c:pt idx="1">
                  <c:v>2139231</c:v>
                </c:pt>
                <c:pt idx="2">
                  <c:v>871584</c:v>
                </c:pt>
                <c:pt idx="3">
                  <c:v>191564</c:v>
                </c:pt>
              </c:numCache>
            </c:numRef>
          </c:bubbleSize>
          <c:bubble3D val="0"/>
          <c:extLst>
            <c:ext xmlns:c15="http://schemas.microsoft.com/office/drawing/2012/chart" uri="{02D57815-91ED-43cb-92C2-25804820EDAC}">
              <c15:datalabelsRange>
                <c15:f>Sheet1!$E$2:$E$10</c15:f>
                <c15:dlblRangeCache>
                  <c:ptCount val="9"/>
                  <c:pt idx="0">
                    <c:v>Banana Boat</c:v>
                  </c:pt>
                  <c:pt idx="1">
                    <c:v>Australian Gold</c:v>
                  </c:pt>
                  <c:pt idx="2">
                    <c:v>Ocean Potion</c:v>
                  </c:pt>
                  <c:pt idx="3">
                    <c:v>Mustela</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8"/>
          <c:min val="21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DBAFAD-F5FF-474E-989B-0E0D8654E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B9ACFA7-BB3D-4092-B1A0-0ADB3E8DD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CB4B6B0-96E6-4000-AC7F-2DFAB4238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1A8E6C7-AB6B-46E5-8F97-5C98750A6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C2CCB0E-07C8-45BB-9582-DDDFE19588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8FC6D42-05DD-42BB-8ED6-00FBF9B39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49C2CD0-3A77-41EA-8BCC-E1BBE904A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4C94A6C-D945-4DB6-8971-00FA1997B9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5.6639</c:v>
                </c:pt>
              </c:numCache>
            </c:numRef>
          </c:xVal>
          <c:yVal>
            <c:numRef>
              <c:f>Sheet1!$B$2:$B$2</c:f>
              <c:numCache>
                <c:formatCode>General</c:formatCode>
                <c:ptCount val="1"/>
                <c:pt idx="0">
                  <c:v>0.998</c:v>
                </c:pt>
              </c:numCache>
            </c:numRef>
          </c:yVal>
          <c:bubbleSize>
            <c:numRef>
              <c:f>Sheet1!$C$2:$C$2</c:f>
              <c:numCache>
                <c:formatCode>General</c:formatCode>
                <c:ptCount val="1"/>
                <c:pt idx="0">
                  <c:v>9707911</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1"/>
          <c:min val="10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704F525-58F2-41A2-B39C-35CDF9B2D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F9A0043-3B3C-475F-821E-D24A6F8EE8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F8DFCB9-33EB-4D0F-B73D-E6A677057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A17DBD1-4BD5-46F9-9C1D-468CD234C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3199070-C2EF-4E3F-A56D-78D8F2657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E6D92EC-E629-4647-BB98-FA0924512C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4C37005-30DF-4207-8513-3436AAD5AD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A70B0D9-C59E-4B8A-91FD-09ACCA778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68.09210000000002</c:v>
                </c:pt>
              </c:numCache>
            </c:numRef>
          </c:xVal>
          <c:yVal>
            <c:numRef>
              <c:f>Sheet1!$B$2:$B$2</c:f>
              <c:numCache>
                <c:formatCode>General</c:formatCode>
                <c:ptCount val="1"/>
                <c:pt idx="0">
                  <c:v>1</c:v>
                </c:pt>
              </c:numCache>
            </c:numRef>
          </c:yVal>
          <c:bubbleSize>
            <c:numRef>
              <c:f>Sheet1!$C$2:$C$2</c:f>
              <c:numCache>
                <c:formatCode>General</c:formatCode>
                <c:ptCount val="1"/>
                <c:pt idx="0">
                  <c:v>238602</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2"/>
          <c:min val="2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F6F9AB-C059-4D66-A69E-7EE710433B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0A03CAB-5157-4AD8-A2F3-F8A080F328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B7A8D2B-A57F-4382-B3FD-7CA7135E1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635FC80-5EFF-43D5-98D7-B268053033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D16A41F-37AE-4F8C-86B1-EE9DB2C1B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5A591C2-BA2F-4742-9819-8CF4EEE1E2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BBF179A-267C-45F9-87C7-8D79CF1075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D1776CC-2542-4406-8322-C3C620DAD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55.08360000000005</c:v>
                </c:pt>
              </c:numCache>
            </c:numRef>
          </c:xVal>
          <c:yVal>
            <c:numRef>
              <c:f>Sheet1!$B$2:$B$2</c:f>
              <c:numCache>
                <c:formatCode>General</c:formatCode>
                <c:ptCount val="1"/>
                <c:pt idx="0">
                  <c:v>1</c:v>
                </c:pt>
              </c:numCache>
            </c:numRef>
          </c:yVal>
          <c:bubbleSize>
            <c:numRef>
              <c:f>Sheet1!$C$2:$C$2</c:f>
              <c:numCache>
                <c:formatCode>General</c:formatCode>
                <c:ptCount val="1"/>
                <c:pt idx="0">
                  <c:v>12418886</c:v>
                </c:pt>
              </c:numCache>
            </c:numRef>
          </c:bubbleSize>
          <c:bubble3D val="0"/>
          <c:extLst>
            <c:ext xmlns:c15="http://schemas.microsoft.com/office/drawing/2012/chart" uri="{02D57815-91ED-43cb-92C2-25804820EDAC}">
              <c15:datalabelsRange>
                <c15:f>Sheet1!$E$2:$E$10</c15:f>
                <c15:dlblRangeCache>
                  <c:ptCount val="9"/>
                  <c:pt idx="0">
                    <c:v>Helio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6"/>
          <c:min val="44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DA10AD3-39A5-4368-B4DD-C485D0A2D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DDC9730-BCF0-412E-8944-31EA4A627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1106D63-08D4-4D7F-9C62-7E01D0308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698142F-DEBC-4C46-8ABF-46FC45C972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012DBE-ABFB-4E80-BECA-5E6AE2B40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1C8E6C2-99BF-42B6-B97F-A8D3C9E69E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DA3D78B-B887-4B9A-9A0C-5E6CA8AD00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995F319-E76C-4D5E-A3C6-5E1830E9AB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2.5838</c:v>
                </c:pt>
                <c:pt idx="1">
                  <c:v>96.877300000000005</c:v>
                </c:pt>
                <c:pt idx="2">
                  <c:v>239.56800000000001</c:v>
                </c:pt>
                <c:pt idx="3">
                  <c:v>79.946200000000005</c:v>
                </c:pt>
                <c:pt idx="4">
                  <c:v>213.35749999999999</c:v>
                </c:pt>
              </c:numCache>
            </c:numRef>
          </c:xVal>
          <c:yVal>
            <c:numRef>
              <c:f>Sheet1!$B$2:$B$6</c:f>
              <c:numCache>
                <c:formatCode>General</c:formatCode>
                <c:ptCount val="5"/>
                <c:pt idx="0">
                  <c:v>2.4159999999999999</c:v>
                </c:pt>
                <c:pt idx="1">
                  <c:v>0.71699999999999997</c:v>
                </c:pt>
                <c:pt idx="2">
                  <c:v>0.90400000000000003</c:v>
                </c:pt>
                <c:pt idx="3">
                  <c:v>0.61099999999999999</c:v>
                </c:pt>
                <c:pt idx="4">
                  <c:v>0.875</c:v>
                </c:pt>
              </c:numCache>
            </c:numRef>
          </c:yVal>
          <c:bubbleSize>
            <c:numRef>
              <c:f>Sheet1!$C$2:$C$6</c:f>
              <c:numCache>
                <c:formatCode>General</c:formatCode>
                <c:ptCount val="5"/>
                <c:pt idx="0">
                  <c:v>3097552</c:v>
                </c:pt>
                <c:pt idx="1">
                  <c:v>1076307</c:v>
                </c:pt>
                <c:pt idx="2">
                  <c:v>1038048</c:v>
                </c:pt>
                <c:pt idx="3">
                  <c:v>575133</c:v>
                </c:pt>
                <c:pt idx="4">
                  <c:v>393858</c:v>
                </c:pt>
              </c:numCache>
            </c:numRef>
          </c:bubbleSize>
          <c:bubble3D val="0"/>
          <c:extLst>
            <c:ext xmlns:c15="http://schemas.microsoft.com/office/drawing/2012/chart" uri="{02D57815-91ED-43cb-92C2-25804820EDAC}">
              <c15:datalabelsRange>
                <c15:f>Sheet1!$E$2:$E$10</c15:f>
                <c15:dlblRangeCache>
                  <c:ptCount val="9"/>
                  <c:pt idx="0">
                    <c:v>Nivea</c:v>
                  </c:pt>
                  <c:pt idx="1">
                    <c:v>Nuvel</c:v>
                  </c:pt>
                  <c:pt idx="2">
                    <c:v>Banana Boat</c:v>
                  </c:pt>
                  <c:pt idx="3">
                    <c:v>Caribbean Beach</c:v>
                  </c:pt>
                  <c:pt idx="4">
                    <c:v>Hawaiian Trop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1"/>
          <c:min val="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43C094-B9C4-4A48-B877-A5D98B0411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80F8DE2D-3EB8-4A4B-BD59-176D7D572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1A1CACB-7BEC-4073-8AE9-445946B5D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087CC5A-893E-408D-A0F3-8B63DD9CB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DEDAFD7-6285-444A-80AA-AEA7A9D684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0E1F2BA-91DA-4187-8C43-26DE2F4A8E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A45B46E-057F-4454-B0F4-C71CC8F71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6911DC4-88DE-4E9E-9518-6944BF806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77.00709999999998</c:v>
                </c:pt>
              </c:numCache>
            </c:numRef>
          </c:xVal>
          <c:yVal>
            <c:numRef>
              <c:f>Sheet1!$B$2:$B$2</c:f>
              <c:numCache>
                <c:formatCode>General</c:formatCode>
                <c:ptCount val="1"/>
                <c:pt idx="0">
                  <c:v>1</c:v>
                </c:pt>
              </c:numCache>
            </c:numRef>
          </c:yVal>
          <c:bubbleSize>
            <c:numRef>
              <c:f>Sheet1!$C$2:$C$2</c:f>
              <c:numCache>
                <c:formatCode>General</c:formatCode>
                <c:ptCount val="1"/>
                <c:pt idx="0">
                  <c:v>1204704</c:v>
                </c:pt>
              </c:numCache>
            </c:numRef>
          </c:bubbleSize>
          <c:bubble3D val="0"/>
          <c:extLst>
            <c:ext xmlns:c15="http://schemas.microsoft.com/office/drawing/2012/chart" uri="{02D57815-91ED-43cb-92C2-25804820EDAC}">
              <c15:datalabelsRange>
                <c15:f>Sheet1!$E$2:$E$10</c15:f>
                <c15:dlblRangeCache>
                  <c:ptCount val="9"/>
                  <c:pt idx="0">
                    <c:v>Nive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2"/>
          <c:min val="2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DB59FF-B2F3-412D-92AC-04D50E273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3429DAE-54FA-440B-858E-CC4FCC205E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5DC9F6-0547-40F4-9EBC-A03B375443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9502DAB-6DD0-4B82-BF22-4B2E3A09D4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439B25E-37D6-45C1-8B1C-B118A5587A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E9F634B-793F-4E1C-9AD7-7B0492D3A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0B82668-1F45-499F-995B-704CD7D39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4D6B570-CE2B-449E-9267-429F211AB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90.7534</c:v>
                </c:pt>
                <c:pt idx="1">
                  <c:v>174.9836</c:v>
                </c:pt>
                <c:pt idx="2">
                  <c:v>99.850999999999999</c:v>
                </c:pt>
                <c:pt idx="3">
                  <c:v>205.88</c:v>
                </c:pt>
              </c:numCache>
            </c:numRef>
          </c:xVal>
          <c:yVal>
            <c:numRef>
              <c:f>Sheet1!$B$2:$B$5</c:f>
              <c:numCache>
                <c:formatCode>General</c:formatCode>
                <c:ptCount val="4"/>
                <c:pt idx="0">
                  <c:v>1.002</c:v>
                </c:pt>
                <c:pt idx="1">
                  <c:v>0.91300000000000003</c:v>
                </c:pt>
                <c:pt idx="2">
                  <c:v>1.069</c:v>
                </c:pt>
                <c:pt idx="3">
                  <c:v>1.244</c:v>
                </c:pt>
              </c:numCache>
            </c:numRef>
          </c:yVal>
          <c:bubbleSize>
            <c:numRef>
              <c:f>Sheet1!$C$2:$C$5</c:f>
              <c:numCache>
                <c:formatCode>General</c:formatCode>
                <c:ptCount val="4"/>
                <c:pt idx="0">
                  <c:v>4361194</c:v>
                </c:pt>
                <c:pt idx="1">
                  <c:v>309896</c:v>
                </c:pt>
                <c:pt idx="2">
                  <c:v>207790</c:v>
                </c:pt>
                <c:pt idx="3">
                  <c:v>5147</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7"/>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16E554-1263-4E13-B8FD-0950E893C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8D2192-C6D0-4F13-B789-AF16C73D15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8BCDCCB-F061-4469-B134-0790FBB5F0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51210D0-5320-4947-9759-9A90E056D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9D79E8A-386D-4BD7-9B3D-921C90BA50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15DE5D9-D0EF-4D0C-9192-A48C453926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756A8FA-0EC4-448F-9D23-37FB00DB14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FFE5662-77A7-4AEB-9ED2-2C388AD4F5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65.83749999999998</c:v>
                </c:pt>
                <c:pt idx="1">
                  <c:v>350.61860000000001</c:v>
                </c:pt>
              </c:numCache>
            </c:numRef>
          </c:xVal>
          <c:yVal>
            <c:numRef>
              <c:f>Sheet1!$B$2:$B$3</c:f>
              <c:numCache>
                <c:formatCode>General</c:formatCode>
                <c:ptCount val="2"/>
                <c:pt idx="0">
                  <c:v>1.0169999999999999</c:v>
                </c:pt>
                <c:pt idx="1">
                  <c:v>0.86699999999999999</c:v>
                </c:pt>
              </c:numCache>
            </c:numRef>
          </c:yVal>
          <c:bubbleSize>
            <c:numRef>
              <c:f>Sheet1!$C$2:$C$3</c:f>
              <c:numCache>
                <c:formatCode>General</c:formatCode>
                <c:ptCount val="2"/>
                <c:pt idx="0">
                  <c:v>310764</c:v>
                </c:pt>
                <c:pt idx="1">
                  <c:v>34010</c:v>
                </c:pt>
              </c:numCache>
            </c:numRef>
          </c:bubbleSize>
          <c:bubble3D val="0"/>
          <c:extLst>
            <c:ext xmlns:c15="http://schemas.microsoft.com/office/drawing/2012/chart" uri="{02D57815-91ED-43cb-92C2-25804820EDAC}">
              <c15:datalabelsRange>
                <c15:f>Sheet1!$E$2:$E$10</c15:f>
                <c15:dlblRangeCache>
                  <c:ptCount val="9"/>
                  <c:pt idx="0">
                    <c:v>Banana Boat</c:v>
                  </c:pt>
                  <c:pt idx="1">
                    <c:v>Neutrogen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1"/>
          <c:min val="21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E4D665-9928-4682-83DC-6CC9D3A749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35E2ACF-AD41-4D2F-BD1D-A2CE0EFC6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7B155B2-B8A1-461D-B4D3-9853E394D6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40F3BD3-8A88-48A7-A50F-5705E33E03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0CBED09-F786-475E-9F42-2BC09F4E55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5339B92-6874-4140-8656-82872399E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0677B68-54C7-4A86-8825-CAD9E9232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70EB6E3-9026-4990-BA0D-E791FD123D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45.64230000000001</c:v>
                </c:pt>
              </c:numCache>
            </c:numRef>
          </c:xVal>
          <c:yVal>
            <c:numRef>
              <c:f>Sheet1!$B$2:$B$2</c:f>
              <c:numCache>
                <c:formatCode>General</c:formatCode>
                <c:ptCount val="1"/>
                <c:pt idx="0">
                  <c:v>1</c:v>
                </c:pt>
              </c:numCache>
            </c:numRef>
          </c:yVal>
          <c:bubbleSize>
            <c:numRef>
              <c:f>Sheet1!$C$2:$C$2</c:f>
              <c:numCache>
                <c:formatCode>General</c:formatCode>
                <c:ptCount val="1"/>
                <c:pt idx="0">
                  <c:v>90642</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5"/>
          <c:min val="19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B16B6F-E7CF-48AD-BA9E-AA38ACE83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1BE190-5591-4E25-97EB-61C92C9B8B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BAE91FB-59C4-44EC-990C-7C8CEE21BF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8A0FB6-6259-4851-857B-B4FC0338C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59960B7-52BF-4493-B351-5D811E25C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25F093C-5E00-4638-B5D9-A36CCC894E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3B8AB58-3464-48E3-83A8-41F0728739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D9E6B8C-68D0-4B29-ACAA-9AC5D82BA6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427.95409999999998</c:v>
                </c:pt>
                <c:pt idx="1">
                  <c:v>291.05380000000002</c:v>
                </c:pt>
                <c:pt idx="2">
                  <c:v>195.04</c:v>
                </c:pt>
                <c:pt idx="3">
                  <c:v>160.56739999999999</c:v>
                </c:pt>
              </c:numCache>
            </c:numRef>
          </c:xVal>
          <c:yVal>
            <c:numRef>
              <c:f>Sheet1!$B$2:$B$5</c:f>
              <c:numCache>
                <c:formatCode>General</c:formatCode>
                <c:ptCount val="4"/>
                <c:pt idx="0">
                  <c:v>4.1500000000000004</c:v>
                </c:pt>
                <c:pt idx="1">
                  <c:v>1.1120000000000001</c:v>
                </c:pt>
                <c:pt idx="2">
                  <c:v>0.65400000000000003</c:v>
                </c:pt>
                <c:pt idx="3">
                  <c:v>0.253</c:v>
                </c:pt>
              </c:numCache>
            </c:numRef>
          </c:yVal>
          <c:bubbleSize>
            <c:numRef>
              <c:f>Sheet1!$C$2:$C$5</c:f>
              <c:numCache>
                <c:formatCode>General</c:formatCode>
                <c:ptCount val="4"/>
                <c:pt idx="0">
                  <c:v>1947191</c:v>
                </c:pt>
                <c:pt idx="1">
                  <c:v>400490</c:v>
                </c:pt>
                <c:pt idx="2">
                  <c:v>121900</c:v>
                </c:pt>
                <c:pt idx="3">
                  <c:v>57162</c:v>
                </c:pt>
              </c:numCache>
            </c:numRef>
          </c:bubbleSize>
          <c:bubble3D val="0"/>
          <c:extLst>
            <c:ext xmlns:c15="http://schemas.microsoft.com/office/drawing/2012/chart" uri="{02D57815-91ED-43cb-92C2-25804820EDAC}">
              <c15:datalabelsRange>
                <c15:f>Sheet1!$E$2:$E$10</c15:f>
                <c15:dlblRangeCache>
                  <c:ptCount val="9"/>
                  <c:pt idx="0">
                    <c:v>Isdin</c:v>
                  </c:pt>
                  <c:pt idx="1">
                    <c:v>Eclipsol</c:v>
                  </c:pt>
                  <c:pt idx="2">
                    <c:v>Neutrogena</c:v>
                  </c:pt>
                  <c:pt idx="3">
                    <c:v>Cicatric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4"/>
          <c:min val="1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89D4044-BC0A-40F0-90AF-70CAC9AEC9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5F00D8F-D109-46BA-9C93-7B4DE1E1CE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120A6F1-068F-41B2-AD08-7FB4B20D2F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886B5A7-E4D6-4470-8021-A85ED86C3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4B7341B-4C2A-4129-B052-14D36BD50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7CFA671-DFAA-4081-B65F-CF70998F0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52F1F7D-BC56-4783-A36F-683420E00A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93A52BB-FCD7-4176-8917-1ACC5FDD4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650.38699999999994</c:v>
                </c:pt>
              </c:numCache>
            </c:numRef>
          </c:xVal>
          <c:yVal>
            <c:numRef>
              <c:f>Sheet1!$B$2:$B$2</c:f>
              <c:numCache>
                <c:formatCode>General</c:formatCode>
                <c:ptCount val="1"/>
                <c:pt idx="0">
                  <c:v>1</c:v>
                </c:pt>
              </c:numCache>
            </c:numRef>
          </c:yVal>
          <c:bubbleSize>
            <c:numRef>
              <c:f>Sheet1!$C$2:$C$2</c:f>
              <c:numCache>
                <c:formatCode>General</c:formatCode>
                <c:ptCount val="1"/>
                <c:pt idx="0">
                  <c:v>290723</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0"/>
          <c:min val="5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3E191FF2-7078-47D1-9D74-F928512EA1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70942844-986C-41EA-8545-16DF95E29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FE1C1604-6A5A-4954-8140-658D08761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C7FAB9DA-835A-410A-8585-22AF62B93E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EFFE75B8-AFCF-42E2-A10D-E21F372E3D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1AF528C1-B798-432A-86E5-A6D2F60C55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DC04369F-6947-42A6-B5BD-B1A7F059D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837911B1-FD51-4027-A3D8-22CBE8F1EB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50.09210000000002</c:v>
                </c:pt>
              </c:numCache>
            </c:numRef>
          </c:xVal>
          <c:yVal>
            <c:numRef>
              <c:f>Sheet1!$B$2:$B$2</c:f>
              <c:numCache>
                <c:formatCode>General</c:formatCode>
                <c:ptCount val="1"/>
                <c:pt idx="0">
                  <c:v>0.51700000000000002</c:v>
                </c:pt>
              </c:numCache>
            </c:numRef>
          </c:yVal>
          <c:bubbleSize>
            <c:numRef>
              <c:f>Sheet1!$C$2:$C$2</c:f>
              <c:numCache>
                <c:formatCode>General</c:formatCode>
                <c:ptCount val="1"/>
                <c:pt idx="0">
                  <c:v>2161819</c:v>
                </c:pt>
              </c:numCache>
            </c:numRef>
          </c:bubbleSize>
          <c:bubble3D val="0"/>
          <c:extLst>
            <c:ext xmlns:c15="http://schemas.microsoft.com/office/drawing/2012/chart" uri="{02D57815-91ED-43cb-92C2-25804820EDAC}">
              <c15:datalabelsRange>
                <c15:f>Sheet1!$E$2:$E$10</c15:f>
                <c15:dlblRangeCache>
                  <c:ptCount val="9"/>
                  <c:pt idx="0">
                    <c:v>Neutrogena</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0"/>
          <c:min val="28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F0C0CC-A3EE-41F3-A481-EF75983715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5FB448D-CBC8-406D-9ED4-E913AEF50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1A8DA52-B2AA-4DE7-9880-A779CA890B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98BEC97-E8C7-420E-BC65-AACF3EAB4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E03CEB8-B691-471E-A19C-F89A9984A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BAF77F7-46D8-491A-A3EA-6BC44E1A2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E7832AF-A3F5-4F5B-983D-046149601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FBDD925-DA85-4B3A-904B-177725066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65.66890000000001</c:v>
                </c:pt>
              </c:numCache>
            </c:numRef>
          </c:xVal>
          <c:yVal>
            <c:numRef>
              <c:f>Sheet1!$B$2:$B$2</c:f>
              <c:numCache>
                <c:formatCode>General</c:formatCode>
                <c:ptCount val="1"/>
                <c:pt idx="0">
                  <c:v>1</c:v>
                </c:pt>
              </c:numCache>
            </c:numRef>
          </c:yVal>
          <c:bubbleSize>
            <c:numRef>
              <c:f>Sheet1!$C$2:$C$2</c:f>
              <c:numCache>
                <c:formatCode>General</c:formatCode>
                <c:ptCount val="1"/>
                <c:pt idx="0">
                  <c:v>682205</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59"/>
          <c:min val="37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E6BD7F-978F-45BA-B8C3-144D74582C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B9D63C-92B7-4705-83E2-25063041C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A4483FF-24EE-4DE5-ACFD-28B1429C64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A015CBE-78AB-4A52-B7F5-61F6BE8D7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AB99BA7-0DC5-4922-AB6A-5322C71C1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3A47A94-3147-4FAB-BE23-647ED54FEE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5F78136-7D3A-40B8-96C5-B0F22CDFCB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7579C4C-604E-47FD-A81B-400C01BFE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481.0222</c:v>
                </c:pt>
                <c:pt idx="1">
                  <c:v>173.14</c:v>
                </c:pt>
              </c:numCache>
            </c:numRef>
          </c:xVal>
          <c:yVal>
            <c:numRef>
              <c:f>Sheet1!$B$2:$B$3</c:f>
              <c:numCache>
                <c:formatCode>General</c:formatCode>
                <c:ptCount val="2"/>
                <c:pt idx="0">
                  <c:v>0.95199999999999996</c:v>
                </c:pt>
                <c:pt idx="1">
                  <c:v>1.143</c:v>
                </c:pt>
              </c:numCache>
            </c:numRef>
          </c:yVal>
          <c:bubbleSize>
            <c:numRef>
              <c:f>Sheet1!$C$2:$C$3</c:f>
              <c:numCache>
                <c:formatCode>General</c:formatCode>
                <c:ptCount val="2"/>
                <c:pt idx="0">
                  <c:v>21646</c:v>
                </c:pt>
                <c:pt idx="1">
                  <c:v>8657</c:v>
                </c:pt>
              </c:numCache>
            </c:numRef>
          </c:bubbleSize>
          <c:bubble3D val="0"/>
          <c:extLst>
            <c:ext xmlns:c15="http://schemas.microsoft.com/office/drawing/2012/chart" uri="{02D57815-91ED-43cb-92C2-25804820EDAC}">
              <c15:datalabelsRange>
                <c15:f>Sheet1!$E$2:$E$10</c15:f>
                <c15:dlblRangeCache>
                  <c:ptCount val="9"/>
                  <c:pt idx="0">
                    <c:v>Eucerin</c:v>
                  </c:pt>
                  <c:pt idx="1">
                    <c:v>Loreal Par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77"/>
          <c:min val="13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DA5144-78EC-4267-9439-FA2BAB4251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4D2E25-9F2F-4CF4-8336-1245543248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17F386C-03F8-4FE7-89F7-199358EAA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6425F6A-896B-477D-9B7F-9CC170F2F0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4BDE437-C00A-4CA5-935C-547B191E1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FE19FDF-0D7A-4FDF-9351-85995BE9A4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E2C4052-C11B-49FD-A508-2FC62EED5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ADEDEB9-9409-4F44-B1F9-1746CD410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0.287499999999994</c:v>
                </c:pt>
                <c:pt idx="1">
                  <c:v>262.4024</c:v>
                </c:pt>
                <c:pt idx="2">
                  <c:v>100.1447</c:v>
                </c:pt>
              </c:numCache>
            </c:numRef>
          </c:xVal>
          <c:yVal>
            <c:numRef>
              <c:f>Sheet1!$B$2:$B$4</c:f>
              <c:numCache>
                <c:formatCode>General</c:formatCode>
                <c:ptCount val="3"/>
                <c:pt idx="0">
                  <c:v>0.89300000000000002</c:v>
                </c:pt>
                <c:pt idx="1">
                  <c:v>1.7010000000000001</c:v>
                </c:pt>
                <c:pt idx="2">
                  <c:v>0.83199999999999996</c:v>
                </c:pt>
              </c:numCache>
            </c:numRef>
          </c:yVal>
          <c:bubbleSize>
            <c:numRef>
              <c:f>Sheet1!$C$2:$C$4</c:f>
              <c:numCache>
                <c:formatCode>General</c:formatCode>
                <c:ptCount val="3"/>
                <c:pt idx="0">
                  <c:v>634833</c:v>
                </c:pt>
                <c:pt idx="1">
                  <c:v>194965</c:v>
                </c:pt>
                <c:pt idx="2">
                  <c:v>22833</c:v>
                </c:pt>
              </c:numCache>
            </c:numRef>
          </c:bubbleSize>
          <c:bubble3D val="0"/>
          <c:extLst>
            <c:ext xmlns:c15="http://schemas.microsoft.com/office/drawing/2012/chart" uri="{02D57815-91ED-43cb-92C2-25804820EDAC}">
              <c15:datalabelsRange>
                <c15:f>Sheet1!$E$2:$E$10</c15:f>
                <c15:dlblRangeCache>
                  <c:ptCount val="9"/>
                  <c:pt idx="0">
                    <c:v>Caribbean Beach</c:v>
                  </c:pt>
                  <c:pt idx="1">
                    <c:v>Banana Boat</c:v>
                  </c:pt>
                  <c:pt idx="2">
                    <c:v>Copperto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5"/>
          <c:min val="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32E14F-49A2-4C2A-8CE0-90921B5573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5B20D0-274C-43C0-B63F-7AFBD403C4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B5C7C9D-4959-46AC-AED7-ED8F4A2809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CBC20D5-8512-4A1A-B17C-2CBD5C4A3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8A92FCF-B672-4494-AB03-7AAEB406E3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5FB5555-8231-4E93-A0C0-C6295C997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D32642A-2757-4446-AA58-5449605C6E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2A3352F-D282-43AD-9A35-9D6B11B97C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35.92850000000001</c:v>
                </c:pt>
                <c:pt idx="1">
                  <c:v>191.65270000000001</c:v>
                </c:pt>
              </c:numCache>
            </c:numRef>
          </c:xVal>
          <c:yVal>
            <c:numRef>
              <c:f>Sheet1!$B$2:$B$3</c:f>
              <c:numCache>
                <c:formatCode>General</c:formatCode>
                <c:ptCount val="2"/>
                <c:pt idx="0">
                  <c:v>0.99399999999999999</c:v>
                </c:pt>
                <c:pt idx="1">
                  <c:v>1.012</c:v>
                </c:pt>
              </c:numCache>
            </c:numRef>
          </c:yVal>
          <c:bubbleSize>
            <c:numRef>
              <c:f>Sheet1!$C$2:$C$3</c:f>
              <c:numCache>
                <c:formatCode>General</c:formatCode>
                <c:ptCount val="2"/>
                <c:pt idx="0">
                  <c:v>279333</c:v>
                </c:pt>
                <c:pt idx="1">
                  <c:v>151214</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0"/>
          <c:min val="10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B50326-57FD-448C-A316-5068B6198D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49B9358-6BD4-4622-A262-0A76DA788B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018096A-9DF5-428D-97CD-E55DA5F92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C2741FD-0EC7-48DE-A213-F44ADFE137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A9801E3-D200-42B2-9475-FCC847ADC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740BC7A-E12A-4C03-9F96-1B8ED6B2A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443DAA1-0CD7-434B-A987-B7DB80FAE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3700FF6-F8E2-4209-9425-95EFE9B80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17.09649999999999</c:v>
                </c:pt>
                <c:pt idx="1">
                  <c:v>188.4854</c:v>
                </c:pt>
              </c:numCache>
            </c:numRef>
          </c:xVal>
          <c:yVal>
            <c:numRef>
              <c:f>Sheet1!$B$2:$B$3</c:f>
              <c:numCache>
                <c:formatCode>General</c:formatCode>
                <c:ptCount val="2"/>
                <c:pt idx="0">
                  <c:v>1.1040000000000001</c:v>
                </c:pt>
                <c:pt idx="1">
                  <c:v>0.83199999999999996</c:v>
                </c:pt>
              </c:numCache>
            </c:numRef>
          </c:yVal>
          <c:bubbleSize>
            <c:numRef>
              <c:f>Sheet1!$C$2:$C$3</c:f>
              <c:numCache>
                <c:formatCode>General</c:formatCode>
                <c:ptCount val="2"/>
                <c:pt idx="0">
                  <c:v>206893</c:v>
                </c:pt>
                <c:pt idx="1">
                  <c:v>51645</c:v>
                </c:pt>
              </c:numCache>
            </c:numRef>
          </c:bubbleSize>
          <c:bubble3D val="0"/>
          <c:extLst>
            <c:ext xmlns:c15="http://schemas.microsoft.com/office/drawing/2012/chart" uri="{02D57815-91ED-43cb-92C2-25804820EDAC}">
              <c15:datalabelsRange>
                <c15:f>Sheet1!$E$2:$E$10</c15:f>
                <c15:dlblRangeCache>
                  <c:ptCount val="9"/>
                  <c:pt idx="0">
                    <c:v>Banana Boat</c:v>
                  </c:pt>
                  <c:pt idx="1">
                    <c:v>Copperto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1"/>
          <c:min val="15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8FAFB9-FC6F-455B-AFCA-4AF4C7286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E82528-B6D6-4AF6-B7F6-7118C054D7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DB8D07-1E31-4BAF-856A-1BA4694D54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BD0BC85-E9E1-414A-A19A-6FC8BA7784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4E96166-6740-423C-AAD7-C976D90D4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78A21E-8716-4F94-ABA6-BD62164E5D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6D39C29-0EC5-44FC-A93D-43B3D8930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AA030F9-F523-4EB7-A3A0-94D6CF980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3.6815</c:v>
                </c:pt>
                <c:pt idx="1">
                  <c:v>238.27600000000001</c:v>
                </c:pt>
                <c:pt idx="2">
                  <c:v>89.001400000000004</c:v>
                </c:pt>
                <c:pt idx="3">
                  <c:v>232.46729999999999</c:v>
                </c:pt>
                <c:pt idx="4">
                  <c:v>74.360500000000002</c:v>
                </c:pt>
                <c:pt idx="5">
                  <c:v>185.8261</c:v>
                </c:pt>
              </c:numCache>
            </c:numRef>
          </c:xVal>
          <c:yVal>
            <c:numRef>
              <c:f>Sheet1!$B$2:$B$7</c:f>
              <c:numCache>
                <c:formatCode>General</c:formatCode>
                <c:ptCount val="6"/>
                <c:pt idx="0">
                  <c:v>1.7609999999999999</c:v>
                </c:pt>
                <c:pt idx="1">
                  <c:v>0.88600000000000001</c:v>
                </c:pt>
                <c:pt idx="2">
                  <c:v>0.51300000000000001</c:v>
                </c:pt>
                <c:pt idx="3">
                  <c:v>0.79500000000000004</c:v>
                </c:pt>
                <c:pt idx="4">
                  <c:v>0.47499999999999998</c:v>
                </c:pt>
                <c:pt idx="5">
                  <c:v>3.6080000000000001</c:v>
                </c:pt>
              </c:numCache>
            </c:numRef>
          </c:yVal>
          <c:bubbleSize>
            <c:numRef>
              <c:f>Sheet1!$C$2:$C$7</c:f>
              <c:numCache>
                <c:formatCode>General</c:formatCode>
                <c:ptCount val="6"/>
                <c:pt idx="0">
                  <c:v>216369464</c:v>
                </c:pt>
                <c:pt idx="1">
                  <c:v>72656085</c:v>
                </c:pt>
                <c:pt idx="2">
                  <c:v>45796727</c:v>
                </c:pt>
                <c:pt idx="3">
                  <c:v>31335423</c:v>
                </c:pt>
                <c:pt idx="4">
                  <c:v>23746346</c:v>
                </c:pt>
                <c:pt idx="5">
                  <c:v>2068932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Caribbean Beach</c:v>
                  </c:pt>
                  <c:pt idx="3">
                    <c:v>Banana Boat</c:v>
                  </c:pt>
                  <c:pt idx="4">
                    <c:v>Nuvel</c:v>
                  </c:pt>
                  <c:pt idx="5">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2"/>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69612CA-7F66-4B5D-80D0-2BD5004AB7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D8CFCD8-4E94-4670-B84F-B772E298D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A2CE0C9-ECB8-448A-950D-0DB313344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9CEFFC9-BFA8-4BCE-A57D-6E687B9DD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DBC1B0F-EA0F-4CBC-A23A-EA3441AD3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E546EEA-2DD4-458A-A95E-905E4CCA4F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0BDFD6A-D400-4455-A627-DFE91E918F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85A5606-1826-47E7-90A9-E17311FE6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43.3535</c:v>
                </c:pt>
                <c:pt idx="1">
                  <c:v>269.45240000000001</c:v>
                </c:pt>
              </c:numCache>
            </c:numRef>
          </c:xVal>
          <c:yVal>
            <c:numRef>
              <c:f>Sheet1!$B$2:$B$3</c:f>
              <c:numCache>
                <c:formatCode>General</c:formatCode>
                <c:ptCount val="2"/>
                <c:pt idx="0">
                  <c:v>1.0029999999999999</c:v>
                </c:pt>
                <c:pt idx="1">
                  <c:v>0.91100000000000003</c:v>
                </c:pt>
              </c:numCache>
            </c:numRef>
          </c:yVal>
          <c:bubbleSize>
            <c:numRef>
              <c:f>Sheet1!$C$2:$C$3</c:f>
              <c:numCache>
                <c:formatCode>General</c:formatCode>
                <c:ptCount val="2"/>
                <c:pt idx="0">
                  <c:v>11123445</c:v>
                </c:pt>
                <c:pt idx="1">
                  <c:v>676056</c:v>
                </c:pt>
              </c:numCache>
            </c:numRef>
          </c:bubbleSize>
          <c:bubble3D val="0"/>
          <c:extLst>
            <c:ext xmlns:c15="http://schemas.microsoft.com/office/drawing/2012/chart" uri="{02D57815-91ED-43cb-92C2-25804820EDAC}">
              <c15:datalabelsRange>
                <c15:f>Sheet1!$E$2:$E$10</c15:f>
                <c15:dlblRangeCache>
                  <c:ptCount val="9"/>
                  <c:pt idx="0">
                    <c:v>Nivea</c:v>
                  </c:pt>
                  <c:pt idx="1">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3"/>
          <c:min val="19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3E6BF6C-D139-4068-BC52-255C95B1C0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805E43D-05F9-418C-A926-8C75FDF3F0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92F4BD9-ED90-4B28-98F3-56A29305A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C1D56EE-70D5-4616-B2AD-132BCBBC08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8BD52FB-38EA-43F4-8C1D-407592E38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18F005F-7C98-477E-9853-77B822382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DF26B92-C713-4BE5-AC8B-CBBC68AE3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B74FE29-6F3A-4DF3-8242-158DC5931D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58.05040000000002</c:v>
                </c:pt>
              </c:numCache>
            </c:numRef>
          </c:xVal>
          <c:yVal>
            <c:numRef>
              <c:f>Sheet1!$B$2:$B$2</c:f>
              <c:numCache>
                <c:formatCode>General</c:formatCode>
                <c:ptCount val="1"/>
                <c:pt idx="0">
                  <c:v>1</c:v>
                </c:pt>
              </c:numCache>
            </c:numRef>
          </c:yVal>
          <c:bubbleSize>
            <c:numRef>
              <c:f>Sheet1!$C$2:$C$2</c:f>
              <c:numCache>
                <c:formatCode>General</c:formatCode>
                <c:ptCount val="1"/>
                <c:pt idx="0">
                  <c:v>91166125</c:v>
                </c:pt>
              </c:numCache>
            </c:numRef>
          </c:bubbleSize>
          <c:bubble3D val="0"/>
          <c:extLst>
            <c:ext xmlns:c15="http://schemas.microsoft.com/office/drawing/2012/chart" uri="{02D57815-91ED-43cb-92C2-25804820EDAC}">
              <c15:datalabelsRange>
                <c15:f>Sheet1!$E$2:$E$10</c15:f>
                <c15:dlblRangeCache>
                  <c:ptCount val="9"/>
                  <c:pt idx="0">
                    <c:v>Nive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0"/>
          <c:min val="20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A88CA0-FFC1-4E02-BB55-EAFAE6FBB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552BAA3-F373-4D7A-9F6F-35D2EF097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21C1FA2-3B2E-46CC-AEE8-7D00F6A3B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E786E97-1171-4CBA-B23A-AE6D5D7F3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B022EA2-D7D0-464A-81C9-6AEAE8541D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C568D5F-A68F-4E3F-9555-BFB4D19EA4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6ECA8B7-6EC7-421F-A19C-A78D13A252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137BEA0-7F16-4817-92F4-3B1A8F81C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36.91249999999999</c:v>
                </c:pt>
                <c:pt idx="1">
                  <c:v>198.9674</c:v>
                </c:pt>
                <c:pt idx="2">
                  <c:v>179.7756</c:v>
                </c:pt>
                <c:pt idx="3">
                  <c:v>206.30250000000001</c:v>
                </c:pt>
              </c:numCache>
            </c:numRef>
          </c:xVal>
          <c:yVal>
            <c:numRef>
              <c:f>Sheet1!$B$2:$B$5</c:f>
              <c:numCache>
                <c:formatCode>General</c:formatCode>
                <c:ptCount val="4"/>
                <c:pt idx="0">
                  <c:v>1.006</c:v>
                </c:pt>
                <c:pt idx="1">
                  <c:v>0.94699999999999995</c:v>
                </c:pt>
                <c:pt idx="2">
                  <c:v>0.93</c:v>
                </c:pt>
                <c:pt idx="3">
                  <c:v>3.02</c:v>
                </c:pt>
              </c:numCache>
            </c:numRef>
          </c:yVal>
          <c:bubbleSize>
            <c:numRef>
              <c:f>Sheet1!$C$2:$C$5</c:f>
              <c:numCache>
                <c:formatCode>General</c:formatCode>
                <c:ptCount val="4"/>
                <c:pt idx="0">
                  <c:v>204773926</c:v>
                </c:pt>
                <c:pt idx="1">
                  <c:v>122783796</c:v>
                </c:pt>
                <c:pt idx="2">
                  <c:v>43021549</c:v>
                </c:pt>
                <c:pt idx="3">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4"/>
          <c:min val="14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048D0F4-C8E9-4E8A-A5DE-45EF4DA59E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1F5310E-D66F-4528-AF53-177CA551B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69BF2E1-289A-4C4D-90DE-2B86AD641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3B5B16B-C1CE-47D7-AD2C-AEB647085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6DD80A4-A405-48E7-B7C8-1AA0C0F3B3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F63BC5F-0B4C-4D74-B262-4E3BB391CD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0B83374-A4C4-474A-87C2-65C707D48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8F790D5-C8B9-4A17-84ED-92B81ACBD9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50.3373</c:v>
                </c:pt>
                <c:pt idx="1">
                  <c:v>424.61759999999998</c:v>
                </c:pt>
              </c:numCache>
            </c:numRef>
          </c:xVal>
          <c:yVal>
            <c:numRef>
              <c:f>Sheet1!$B$2:$B$3</c:f>
              <c:numCache>
                <c:formatCode>General</c:formatCode>
                <c:ptCount val="2"/>
                <c:pt idx="0">
                  <c:v>0.98299999999999998</c:v>
                </c:pt>
                <c:pt idx="1">
                  <c:v>6.0019999999999998</c:v>
                </c:pt>
              </c:numCache>
            </c:numRef>
          </c:yVal>
          <c:bubbleSize>
            <c:numRef>
              <c:f>Sheet1!$C$2:$C$3</c:f>
              <c:numCache>
                <c:formatCode>General</c:formatCode>
                <c:ptCount val="2"/>
                <c:pt idx="0">
                  <c:v>46575760</c:v>
                </c:pt>
                <c:pt idx="1">
                  <c:v>989359</c:v>
                </c:pt>
              </c:numCache>
            </c:numRef>
          </c:bubbleSize>
          <c:bubble3D val="0"/>
          <c:extLst>
            <c:ext xmlns:c15="http://schemas.microsoft.com/office/drawing/2012/chart" uri="{02D57815-91ED-43cb-92C2-25804820EDAC}">
              <c15:datalabelsRange>
                <c15:f>Sheet1!$E$2:$E$10</c15:f>
                <c15:dlblRangeCache>
                  <c:ptCount val="9"/>
                  <c:pt idx="0">
                    <c:v>Banana Boat</c:v>
                  </c:pt>
                  <c:pt idx="1">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0"/>
          <c:min val="2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5C53EC3A-B9EE-4B22-95E5-C665F037AD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D4BE9EC0-0FB0-4C6A-AEC5-968D92E12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C6D74E6A-D588-450C-A5FD-2C157E69D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09CAE396-A2EC-4EB3-8BBC-74BB50AA8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10860AA8-9100-4DF4-A4E2-ACDBFF3B61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39259284-AB75-4C6F-AEF8-4C5C1EEFF7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B49AEFDE-5393-4FC7-91FD-772EA1ADE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3C52DCB6-7E90-4F78-BB52-4CAF83ACB6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632.50260000000003</c:v>
                </c:pt>
                <c:pt idx="1">
                  <c:v>548.4271</c:v>
                </c:pt>
                <c:pt idx="2">
                  <c:v>681.34450000000004</c:v>
                </c:pt>
                <c:pt idx="3">
                  <c:v>678.15869999999995</c:v>
                </c:pt>
              </c:numCache>
            </c:numRef>
          </c:xVal>
          <c:yVal>
            <c:numRef>
              <c:f>Sheet1!$B$2:$B$5</c:f>
              <c:numCache>
                <c:formatCode>General</c:formatCode>
                <c:ptCount val="4"/>
                <c:pt idx="0">
                  <c:v>0.80900000000000005</c:v>
                </c:pt>
                <c:pt idx="1">
                  <c:v>1.607</c:v>
                </c:pt>
                <c:pt idx="2">
                  <c:v>2.2970000000000002</c:v>
                </c:pt>
                <c:pt idx="3">
                  <c:v>0.86499999999999999</c:v>
                </c:pt>
              </c:numCache>
            </c:numRef>
          </c:yVal>
          <c:bubbleSize>
            <c:numRef>
              <c:f>Sheet1!$C$2:$C$5</c:f>
              <c:numCache>
                <c:formatCode>General</c:formatCode>
                <c:ptCount val="4"/>
                <c:pt idx="0">
                  <c:v>29936346</c:v>
                </c:pt>
                <c:pt idx="1">
                  <c:v>29139577</c:v>
                </c:pt>
                <c:pt idx="2">
                  <c:v>3833244</c:v>
                </c:pt>
                <c:pt idx="3">
                  <c:v>3764459</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Vichy</c:v>
                  </c:pt>
                  <c:pt idx="3">
                    <c:v>Heliocar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8"/>
          <c:min val="43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1D7E50-6B71-4D60-B743-4630643D0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495FB2A4-7D57-41C3-804B-3AE780E53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A680C83-C8C2-4884-94D7-F11D42852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BFFB958-74E3-4D37-8F2D-C1CF9773D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DCAFA99-C071-4E65-8556-9E9BEB1F0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0530A53-59DE-44A5-80B2-76C613CD7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F38D1D8-D76E-464A-8D02-134D068DC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DB6620C-FFBE-4AAC-A169-8B54B6EA5B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4.67789999999999</c:v>
                </c:pt>
              </c:numCache>
            </c:numRef>
          </c:xVal>
          <c:yVal>
            <c:numRef>
              <c:f>Sheet1!$B$2:$B$2</c:f>
              <c:numCache>
                <c:formatCode>General</c:formatCode>
                <c:ptCount val="1"/>
                <c:pt idx="0">
                  <c:v>1</c:v>
                </c:pt>
              </c:numCache>
            </c:numRef>
          </c:yVal>
          <c:bubbleSize>
            <c:numRef>
              <c:f>Sheet1!$C$2:$C$2</c:f>
              <c:numCache>
                <c:formatCode>General</c:formatCode>
                <c:ptCount val="1"/>
                <c:pt idx="0">
                  <c:v>1562716</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6"/>
          <c:min val="1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C0CD1A-95D4-4AD4-AB4E-06ED18DAEF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8108983-CE4C-4E88-AC7F-59000A1714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CEF60AB-48B0-4A79-9E43-27108BF28C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A51AC3E-5976-408E-983A-1164F74DF6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BB5E002-5279-4886-B3E6-76057A733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AEB3D92-9CA6-4F96-844E-57D795856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C99B8A3-7726-4514-85F1-0A0D049BA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4BF5F56-60F3-44AF-8C6F-2C410E83C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8.50640000000001</c:v>
                </c:pt>
              </c:numCache>
            </c:numRef>
          </c:xVal>
          <c:yVal>
            <c:numRef>
              <c:f>Sheet1!$B$2:$B$2</c:f>
              <c:numCache>
                <c:formatCode>General</c:formatCode>
                <c:ptCount val="1"/>
                <c:pt idx="0">
                  <c:v>1</c:v>
                </c:pt>
              </c:numCache>
            </c:numRef>
          </c:yVal>
          <c:bubbleSize>
            <c:numRef>
              <c:f>Sheet1!$C$2:$C$2</c:f>
              <c:numCache>
                <c:formatCode>General</c:formatCode>
                <c:ptCount val="1"/>
                <c:pt idx="0">
                  <c:v>9805641</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0"/>
          <c:min val="1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A31DAA-FBB3-4B0B-93DC-3AB9D18BD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D3C420-037B-4F22-9B47-0A94AC012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83A846-E40B-49C0-8C21-2D6EA17E2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3F1391-4443-4525-86A6-D5F0A891F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EA6B192-1372-4D30-AC97-3D3FF9A914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724B73F-6BD4-445E-A3FF-A2600C801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DEE89ED-9709-4941-9F20-4873F1715E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8598D98-925C-4EAD-8853-823C47AC81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72.78359999999998</c:v>
                </c:pt>
                <c:pt idx="1">
                  <c:v>351.66789999999997</c:v>
                </c:pt>
                <c:pt idx="2">
                  <c:v>322.3177</c:v>
                </c:pt>
                <c:pt idx="3">
                  <c:v>408.41359999999997</c:v>
                </c:pt>
              </c:numCache>
            </c:numRef>
          </c:xVal>
          <c:yVal>
            <c:numRef>
              <c:f>Sheet1!$B$2:$B$5</c:f>
              <c:numCache>
                <c:formatCode>General</c:formatCode>
                <c:ptCount val="4"/>
                <c:pt idx="0">
                  <c:v>0.56299999999999994</c:v>
                </c:pt>
                <c:pt idx="1">
                  <c:v>2.0299999999999998</c:v>
                </c:pt>
                <c:pt idx="2">
                  <c:v>2.2400000000000002</c:v>
                </c:pt>
                <c:pt idx="3">
                  <c:v>2.6789999999999998</c:v>
                </c:pt>
              </c:numCache>
            </c:numRef>
          </c:yVal>
          <c:bubbleSize>
            <c:numRef>
              <c:f>Sheet1!$C$2:$C$5</c:f>
              <c:numCache>
                <c:formatCode>General</c:formatCode>
                <c:ptCount val="4"/>
                <c:pt idx="0">
                  <c:v>2219640</c:v>
                </c:pt>
                <c:pt idx="1">
                  <c:v>2139196</c:v>
                </c:pt>
                <c:pt idx="2">
                  <c:v>871547</c:v>
                </c:pt>
                <c:pt idx="3">
                  <c:v>191546</c:v>
                </c:pt>
              </c:numCache>
            </c:numRef>
          </c:bubbleSize>
          <c:bubble3D val="0"/>
          <c:extLst>
            <c:ext xmlns:c15="http://schemas.microsoft.com/office/drawing/2012/chart" uri="{02D57815-91ED-43cb-92C2-25804820EDAC}">
              <c15:datalabelsRange>
                <c15:f>Sheet1!$E$2:$E$10</c15:f>
                <c15:dlblRangeCache>
                  <c:ptCount val="9"/>
                  <c:pt idx="0">
                    <c:v>Banana Boat</c:v>
                  </c:pt>
                  <c:pt idx="1">
                    <c:v>Australian Gold</c:v>
                  </c:pt>
                  <c:pt idx="2">
                    <c:v>Ocean Potion</c:v>
                  </c:pt>
                  <c:pt idx="3">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0"/>
          <c:min val="2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C69034D-99A4-49ED-90D0-811D595D4D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5E0A091-BF2B-4353-94F8-38F1EF6CA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38C780C-4205-45C3-BF78-BFCAF584E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7D3FBF5-A043-4852-8143-DC37D346EE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8949BA2-B895-4993-B747-EB6ABE5384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127FA30-5706-4708-80EE-E5E29E8CD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1A9BB17-2457-4453-8CBA-5D8AB052A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5D25AA7-4463-49ED-AB98-75080A7F0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51.09890000000001</c:v>
                </c:pt>
              </c:numCache>
            </c:numRef>
          </c:xVal>
          <c:yVal>
            <c:numRef>
              <c:f>Sheet1!$B$2:$B$2</c:f>
              <c:numCache>
                <c:formatCode>General</c:formatCode>
                <c:ptCount val="1"/>
                <c:pt idx="0">
                  <c:v>0.47</c:v>
                </c:pt>
              </c:numCache>
            </c:numRef>
          </c:yVal>
          <c:bubbleSize>
            <c:numRef>
              <c:f>Sheet1!$C$2:$C$2</c:f>
              <c:numCache>
                <c:formatCode>General</c:formatCode>
                <c:ptCount val="1"/>
                <c:pt idx="0">
                  <c:v>2155747</c:v>
                </c:pt>
              </c:numCache>
            </c:numRef>
          </c:bubbleSize>
          <c:bubble3D val="0"/>
          <c:extLst>
            <c:ext xmlns:c15="http://schemas.microsoft.com/office/drawing/2012/chart" uri="{02D57815-91ED-43cb-92C2-25804820EDAC}">
              <c15:datalabelsRange>
                <c15:f>Sheet1!$E$2:$E$10</c15:f>
                <c15:dlblRangeCache>
                  <c:ptCount val="9"/>
                  <c:pt idx="0">
                    <c:v>Neutrogen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1"/>
          <c:min val="28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40AF9E-7F71-4499-93BC-B021EB969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1FD3B2-9211-4D59-ABDC-92B3A721AB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D6DAFAB-9464-4483-87F7-E8673733F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0AE6B2A-27BF-48D1-A501-7CEA5D909B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403F416-27FA-48B2-A08A-2B607106B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4BDA7EF-727C-446D-9D9B-F1BF6E5266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30DD3AB-12A1-4BA3-B97E-1B61CB3C7F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AD6004F-D0F2-4747-98A0-179503FBA5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597.39189999999996</c:v>
                </c:pt>
                <c:pt idx="1">
                  <c:v>490.33460000000002</c:v>
                </c:pt>
                <c:pt idx="2">
                  <c:v>644.59540000000004</c:v>
                </c:pt>
              </c:numCache>
            </c:numRef>
          </c:xVal>
          <c:yVal>
            <c:numRef>
              <c:f>Sheet1!$B$2:$B$4</c:f>
              <c:numCache>
                <c:formatCode>General</c:formatCode>
                <c:ptCount val="3"/>
                <c:pt idx="0">
                  <c:v>0.99399999999999999</c:v>
                </c:pt>
                <c:pt idx="1">
                  <c:v>1.855</c:v>
                </c:pt>
                <c:pt idx="2">
                  <c:v>2.4529999999999998</c:v>
                </c:pt>
              </c:numCache>
            </c:numRef>
          </c:yVal>
          <c:bubbleSize>
            <c:numRef>
              <c:f>Sheet1!$C$2:$C$4</c:f>
              <c:numCache>
                <c:formatCode>General</c:formatCode>
                <c:ptCount val="3"/>
                <c:pt idx="0">
                  <c:v>7450074</c:v>
                </c:pt>
                <c:pt idx="1">
                  <c:v>5051427</c:v>
                </c:pt>
                <c:pt idx="2">
                  <c:v>1432291</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Vich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74"/>
          <c:min val="39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6DF7B1E-34FD-4AE6-A862-337FCF33E8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7DEA009-D97F-43A3-BAA6-42C43182A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2D44E15-2315-4A16-94F7-EFBFAC9C8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F149733-3047-41D3-A42B-E4ED204D5E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F5A1F70-A2C0-47DE-A587-8962BEB379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1066244-1AF3-428A-80EE-15762D766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040AB6A-75B9-45D9-BC35-BCBE96D3A4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4D7A418-7F28-47D8-ABFA-CF98F658CC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0.39980000000003</c:v>
                </c:pt>
                <c:pt idx="1">
                  <c:v>583.70219999999995</c:v>
                </c:pt>
                <c:pt idx="2">
                  <c:v>543.72979999999995</c:v>
                </c:pt>
                <c:pt idx="3">
                  <c:v>606.59429999999998</c:v>
                </c:pt>
                <c:pt idx="4">
                  <c:v>624.12639999999999</c:v>
                </c:pt>
                <c:pt idx="5">
                  <c:v>332.27109999999999</c:v>
                </c:pt>
                <c:pt idx="6">
                  <c:v>653.98230000000001</c:v>
                </c:pt>
                <c:pt idx="7">
                  <c:v>298.34109999999998</c:v>
                </c:pt>
              </c:numCache>
            </c:numRef>
          </c:xVal>
          <c:yVal>
            <c:numRef>
              <c:f>Sheet1!$B$2:$B$9</c:f>
              <c:numCache>
                <c:formatCode>General</c:formatCode>
                <c:ptCount val="8"/>
                <c:pt idx="0">
                  <c:v>0.76</c:v>
                </c:pt>
                <c:pt idx="1">
                  <c:v>2.9910000000000001</c:v>
                </c:pt>
                <c:pt idx="2">
                  <c:v>1.4279999999999999</c:v>
                </c:pt>
                <c:pt idx="3">
                  <c:v>1.9219999999999999</c:v>
                </c:pt>
                <c:pt idx="4">
                  <c:v>2.8980000000000001</c:v>
                </c:pt>
                <c:pt idx="5">
                  <c:v>0.91800000000000004</c:v>
                </c:pt>
                <c:pt idx="6">
                  <c:v>1.2909999999999999</c:v>
                </c:pt>
                <c:pt idx="7">
                  <c:v>0.47599999999999998</c:v>
                </c:pt>
              </c:numCache>
            </c:numRef>
          </c:yVal>
          <c:bubbleSize>
            <c:numRef>
              <c:f>Sheet1!$C$2:$C$9</c:f>
              <c:numCache>
                <c:formatCode>General</c:formatCode>
                <c:ptCount val="8"/>
                <c:pt idx="0">
                  <c:v>99185766</c:v>
                </c:pt>
                <c:pt idx="1">
                  <c:v>57072654</c:v>
                </c:pt>
                <c:pt idx="2">
                  <c:v>18521067</c:v>
                </c:pt>
                <c:pt idx="3">
                  <c:v>16668605</c:v>
                </c:pt>
                <c:pt idx="4">
                  <c:v>12805826</c:v>
                </c:pt>
                <c:pt idx="5">
                  <c:v>10724715</c:v>
                </c:pt>
                <c:pt idx="6">
                  <c:v>8827453</c:v>
                </c:pt>
                <c:pt idx="7">
                  <c:v>6393152</c:v>
                </c:pt>
              </c:numCache>
            </c:numRef>
          </c:bubbleSize>
          <c:bubble3D val="0"/>
          <c:extLst>
            <c:ext xmlns:c15="http://schemas.microsoft.com/office/drawing/2012/chart" uri="{02D57815-91ED-43cb-92C2-25804820EDAC}">
              <c15:datalabelsRange>
                <c15:f>Sheet1!$E$2:$E$10</c15:f>
                <c15:dlblRangeCache>
                  <c:ptCount val="9"/>
                  <c:pt idx="0">
                    <c:v>Neutrogena</c:v>
                  </c:pt>
                  <c:pt idx="1">
                    <c:v>Isdin</c:v>
                  </c:pt>
                  <c:pt idx="2">
                    <c:v>Avene</c:v>
                  </c:pt>
                  <c:pt idx="3">
                    <c:v>Eucerin</c:v>
                  </c:pt>
                  <c:pt idx="4">
                    <c:v>La Roche-Posay</c:v>
                  </c:pt>
                  <c:pt idx="5">
                    <c:v>Eclipsol</c:v>
                  </c:pt>
                  <c:pt idx="6">
                    <c:v>Vichy</c:v>
                  </c:pt>
                  <c:pt idx="7">
                    <c:v>Cicatric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5"/>
          <c:min val="23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C12F9DA-7077-4F76-B6A7-219DC669E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F02C99C-C92A-43E1-BB7F-C83D79240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9EB628D-AE95-4E3D-A735-590675F22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65FBFC-7E0F-471D-9252-63AFCC819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DC8B690-1BF1-45DE-9303-7B8AB3172C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3E9787B-8F57-445B-89F6-4BE18FAAE7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795FE8D-FB2B-4877-B45D-67D201DA8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F6DFDBE-3E39-46C1-A945-238B859AAB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551.95619999999997</c:v>
                </c:pt>
                <c:pt idx="1">
                  <c:v>580.10599999999999</c:v>
                </c:pt>
                <c:pt idx="2">
                  <c:v>533.79150000000004</c:v>
                </c:pt>
                <c:pt idx="3">
                  <c:v>524.24919999999997</c:v>
                </c:pt>
                <c:pt idx="4">
                  <c:v>369.12920000000003</c:v>
                </c:pt>
              </c:numCache>
            </c:numRef>
          </c:xVal>
          <c:yVal>
            <c:numRef>
              <c:f>Sheet1!$B$2:$B$6</c:f>
              <c:numCache>
                <c:formatCode>General</c:formatCode>
                <c:ptCount val="5"/>
                <c:pt idx="0">
                  <c:v>0.89700000000000002</c:v>
                </c:pt>
                <c:pt idx="1">
                  <c:v>1.0389999999999999</c:v>
                </c:pt>
                <c:pt idx="2">
                  <c:v>1.478</c:v>
                </c:pt>
                <c:pt idx="3">
                  <c:v>0.82799999999999996</c:v>
                </c:pt>
                <c:pt idx="4">
                  <c:v>1.109</c:v>
                </c:pt>
              </c:numCache>
            </c:numRef>
          </c:yVal>
          <c:bubbleSize>
            <c:numRef>
              <c:f>Sheet1!$C$2:$C$6</c:f>
              <c:numCache>
                <c:formatCode>General</c:formatCode>
                <c:ptCount val="5"/>
                <c:pt idx="0">
                  <c:v>17135479</c:v>
                </c:pt>
                <c:pt idx="1">
                  <c:v>14920906</c:v>
                </c:pt>
                <c:pt idx="2">
                  <c:v>4767826</c:v>
                </c:pt>
                <c:pt idx="3">
                  <c:v>4638557</c:v>
                </c:pt>
                <c:pt idx="4">
                  <c:v>2334373</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Eucerin</c:v>
                  </c:pt>
                  <c:pt idx="4">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6"/>
          <c:min val="29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BEF032B-7461-4D17-9237-516726120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7D4C73-FF89-483F-A691-EB4A1903FA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08316B-FA91-4F50-B197-967AD2361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DF6EEB8-E849-4FFA-8EBD-EC146F3F87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875FA9-3D8D-415B-8A3D-56CB47B037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21EACA0-AACE-4AED-807E-DE9196A0D2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4DDA2B0-58A5-4ADC-B21F-FB014BDB4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D019296-35BA-4625-AFD4-4C59B0E505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591.13890000000004</c:v>
                </c:pt>
                <c:pt idx="1">
                  <c:v>552.87980000000005</c:v>
                </c:pt>
                <c:pt idx="2">
                  <c:v>539.27739999999994</c:v>
                </c:pt>
                <c:pt idx="3">
                  <c:v>567.20190000000002</c:v>
                </c:pt>
                <c:pt idx="4">
                  <c:v>467.96749999999997</c:v>
                </c:pt>
              </c:numCache>
            </c:numRef>
          </c:xVal>
          <c:yVal>
            <c:numRef>
              <c:f>Sheet1!$B$2:$B$6</c:f>
              <c:numCache>
                <c:formatCode>General</c:formatCode>
                <c:ptCount val="5"/>
                <c:pt idx="0">
                  <c:v>0.57299999999999995</c:v>
                </c:pt>
                <c:pt idx="1">
                  <c:v>2.64</c:v>
                </c:pt>
                <c:pt idx="2">
                  <c:v>2.7069999999999999</c:v>
                </c:pt>
                <c:pt idx="3">
                  <c:v>16.600999999999999</c:v>
                </c:pt>
                <c:pt idx="4">
                  <c:v>1.286</c:v>
                </c:pt>
              </c:numCache>
            </c:numRef>
          </c:yVal>
          <c:bubbleSize>
            <c:numRef>
              <c:f>Sheet1!$C$2:$C$6</c:f>
              <c:numCache>
                <c:formatCode>General</c:formatCode>
                <c:ptCount val="5"/>
                <c:pt idx="0">
                  <c:v>17641359</c:v>
                </c:pt>
                <c:pt idx="1">
                  <c:v>11875859</c:v>
                </c:pt>
                <c:pt idx="2">
                  <c:v>5504944</c:v>
                </c:pt>
                <c:pt idx="3">
                  <c:v>1573418</c:v>
                </c:pt>
                <c:pt idx="4">
                  <c:v>1323880</c:v>
                </c:pt>
              </c:numCache>
            </c:numRef>
          </c:bubbleSize>
          <c:bubble3D val="0"/>
          <c:extLst>
            <c:ext xmlns:c15="http://schemas.microsoft.com/office/drawing/2012/chart" uri="{02D57815-91ED-43cb-92C2-25804820EDAC}">
              <c15:datalabelsRange>
                <c15:f>Sheet1!$E$2:$E$10</c15:f>
                <c15:dlblRangeCache>
                  <c:ptCount val="9"/>
                  <c:pt idx="0">
                    <c:v>Isdin</c:v>
                  </c:pt>
                  <c:pt idx="1">
                    <c:v>Eucerin</c:v>
                  </c:pt>
                  <c:pt idx="2">
                    <c:v>La Roche-Posay</c:v>
                  </c:pt>
                  <c:pt idx="3">
                    <c:v>Photoderm</c:v>
                  </c:pt>
                  <c:pt idx="4">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37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90BEE6A-5C0F-461E-90F1-D839A32667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6B99A71-C006-46D8-9D7C-5E16025D0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5611399-C85F-4AC6-944D-C6E814E184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E187EF9-1732-4FAC-8672-28340B4930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8A0755F-0DA2-444F-947B-53C544E33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909D5E0-33FD-47FA-9923-6D217D25E4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335D669-4801-442A-81E5-E037F0EF6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33809A8-3AB8-48F2-A9B5-EF66AF262D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02.04489999999998</c:v>
                </c:pt>
                <c:pt idx="1">
                  <c:v>627.20219999999995</c:v>
                </c:pt>
              </c:numCache>
            </c:numRef>
          </c:xVal>
          <c:yVal>
            <c:numRef>
              <c:f>Sheet1!$B$2:$B$3</c:f>
              <c:numCache>
                <c:formatCode>General</c:formatCode>
                <c:ptCount val="2"/>
                <c:pt idx="0">
                  <c:v>0.90200000000000002</c:v>
                </c:pt>
                <c:pt idx="1">
                  <c:v>0</c:v>
                </c:pt>
              </c:numCache>
            </c:numRef>
          </c:yVal>
          <c:bubbleSize>
            <c:numRef>
              <c:f>Sheet1!$C$2:$C$3</c:f>
              <c:numCache>
                <c:formatCode>General</c:formatCode>
                <c:ptCount val="2"/>
                <c:pt idx="0">
                  <c:v>2562303</c:v>
                </c:pt>
                <c:pt idx="1">
                  <c:v>279105</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3"/>
          <c:min val="48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FC7077-6174-429E-AE53-955159ECD2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C4F874-EF83-49F2-9408-3D9E53831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C49B1E6-C161-499B-A15A-0E326C841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D2188B7-1C86-4065-978C-DC0CBA926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8D8A3F8-DE46-4944-A01F-28588E7955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C17062-1AF4-4F04-91E4-A651483A8D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6F6A792-77CC-4D21-930D-897D48584C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5F8C2C7-697C-4DF6-8181-AB83984676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7.20529999999999</c:v>
                </c:pt>
                <c:pt idx="1">
                  <c:v>601.52750000000003</c:v>
                </c:pt>
                <c:pt idx="2">
                  <c:v>576.16099999999994</c:v>
                </c:pt>
                <c:pt idx="3">
                  <c:v>601.99080000000004</c:v>
                </c:pt>
                <c:pt idx="4">
                  <c:v>481.26670000000001</c:v>
                </c:pt>
                <c:pt idx="5">
                  <c:v>328.99709999999999</c:v>
                </c:pt>
                <c:pt idx="6">
                  <c:v>674.8818</c:v>
                </c:pt>
                <c:pt idx="7">
                  <c:v>449.5847</c:v>
                </c:pt>
              </c:numCache>
            </c:numRef>
          </c:xVal>
          <c:yVal>
            <c:numRef>
              <c:f>Sheet1!$B$2:$B$9</c:f>
              <c:numCache>
                <c:formatCode>General</c:formatCode>
                <c:ptCount val="8"/>
                <c:pt idx="0">
                  <c:v>1.1259999999999999</c:v>
                </c:pt>
                <c:pt idx="1">
                  <c:v>1.355</c:v>
                </c:pt>
                <c:pt idx="2">
                  <c:v>0.65200000000000002</c:v>
                </c:pt>
                <c:pt idx="3">
                  <c:v>1.381</c:v>
                </c:pt>
                <c:pt idx="4">
                  <c:v>0.82399999999999995</c:v>
                </c:pt>
                <c:pt idx="5">
                  <c:v>0.50800000000000001</c:v>
                </c:pt>
                <c:pt idx="6">
                  <c:v>0.69499999999999995</c:v>
                </c:pt>
                <c:pt idx="7">
                  <c:v>0.38100000000000001</c:v>
                </c:pt>
              </c:numCache>
            </c:numRef>
          </c:yVal>
          <c:bubbleSize>
            <c:numRef>
              <c:f>Sheet1!$C$2:$C$9</c:f>
              <c:numCache>
                <c:formatCode>General</c:formatCode>
                <c:ptCount val="8"/>
                <c:pt idx="0">
                  <c:v>19748491</c:v>
                </c:pt>
                <c:pt idx="1">
                  <c:v>4652815</c:v>
                </c:pt>
                <c:pt idx="2">
                  <c:v>3481741</c:v>
                </c:pt>
                <c:pt idx="3">
                  <c:v>2151515</c:v>
                </c:pt>
                <c:pt idx="4">
                  <c:v>1959718</c:v>
                </c:pt>
                <c:pt idx="5">
                  <c:v>1031406</c:v>
                </c:pt>
                <c:pt idx="6">
                  <c:v>496713</c:v>
                </c:pt>
                <c:pt idx="7">
                  <c:v>469816</c:v>
                </c:pt>
              </c:numCache>
            </c:numRef>
          </c:bubbleSize>
          <c:bubble3D val="0"/>
          <c:extLst>
            <c:ext xmlns:c15="http://schemas.microsoft.com/office/drawing/2012/chart" uri="{02D57815-91ED-43cb-92C2-25804820EDAC}">
              <c15:datalabelsRange>
                <c15:f>Sheet1!$E$2:$E$10</c15:f>
                <c15:dlblRangeCache>
                  <c:ptCount val="9"/>
                  <c:pt idx="0">
                    <c:v>Loreal Paris</c:v>
                  </c:pt>
                  <c:pt idx="1">
                    <c:v>Isdin</c:v>
                  </c:pt>
                  <c:pt idx="2">
                    <c:v>Eucerin</c:v>
                  </c:pt>
                  <c:pt idx="3">
                    <c:v>La Roche-Posay</c:v>
                  </c:pt>
                  <c:pt idx="4">
                    <c:v>Cetaphil</c:v>
                  </c:pt>
                  <c:pt idx="5">
                    <c:v>Eclipsol</c:v>
                  </c:pt>
                  <c:pt idx="6">
                    <c:v>Vichy</c:v>
                  </c:pt>
                  <c:pt idx="7">
                    <c:v>Av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0"/>
          <c:min val="19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97A2A3-8838-47A2-86BE-182E66F47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FF351AF-AE04-4017-A509-19049AD54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CDAD999-9123-4837-AA1D-7022ED4390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B46C92C-607B-4AE8-884D-0DCE61F6B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D94769-1804-420E-AA33-6C63C7FF47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70EB333-8A28-447E-854F-9B5CC40C84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1DE1607-82BC-4AFA-8F0C-AC92E60F4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1957D44-B2CC-4953-BDD0-92E5A5B646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16.96550000000002</c:v>
                </c:pt>
                <c:pt idx="1">
                  <c:v>652.5068</c:v>
                </c:pt>
                <c:pt idx="2">
                  <c:v>301.11059999999998</c:v>
                </c:pt>
                <c:pt idx="3">
                  <c:v>657.21069999999997</c:v>
                </c:pt>
                <c:pt idx="4">
                  <c:v>692.55909999999994</c:v>
                </c:pt>
                <c:pt idx="5">
                  <c:v>624.06190000000004</c:v>
                </c:pt>
                <c:pt idx="6">
                  <c:v>701.09299999999996</c:v>
                </c:pt>
                <c:pt idx="7">
                  <c:v>731.90039999999999</c:v>
                </c:pt>
              </c:numCache>
            </c:numRef>
          </c:xVal>
          <c:yVal>
            <c:numRef>
              <c:f>Sheet1!$B$2:$B$9</c:f>
              <c:numCache>
                <c:formatCode>General</c:formatCode>
                <c:ptCount val="8"/>
                <c:pt idx="0">
                  <c:v>2.0150000000000001</c:v>
                </c:pt>
                <c:pt idx="1">
                  <c:v>1.214</c:v>
                </c:pt>
                <c:pt idx="2">
                  <c:v>0.53800000000000003</c:v>
                </c:pt>
                <c:pt idx="3">
                  <c:v>1.909</c:v>
                </c:pt>
                <c:pt idx="4">
                  <c:v>1.321</c:v>
                </c:pt>
                <c:pt idx="5">
                  <c:v>2.0430000000000001</c:v>
                </c:pt>
                <c:pt idx="6">
                  <c:v>3.0049999999999999</c:v>
                </c:pt>
                <c:pt idx="7">
                  <c:v>0.84</c:v>
                </c:pt>
              </c:numCache>
            </c:numRef>
          </c:yVal>
          <c:bubbleSize>
            <c:numRef>
              <c:f>Sheet1!$C$2:$C$9</c:f>
              <c:numCache>
                <c:formatCode>General</c:formatCode>
                <c:ptCount val="8"/>
                <c:pt idx="0">
                  <c:v>328173180</c:v>
                </c:pt>
                <c:pt idx="1">
                  <c:v>160863816</c:v>
                </c:pt>
                <c:pt idx="2">
                  <c:v>160839713</c:v>
                </c:pt>
                <c:pt idx="3">
                  <c:v>106499686</c:v>
                </c:pt>
                <c:pt idx="4">
                  <c:v>104277234</c:v>
                </c:pt>
                <c:pt idx="5">
                  <c:v>50723131</c:v>
                </c:pt>
                <c:pt idx="6">
                  <c:v>49077211</c:v>
                </c:pt>
                <c:pt idx="7">
                  <c:v>48649421</c:v>
                </c:pt>
              </c:numCache>
            </c:numRef>
          </c:bubbleSize>
          <c:bubble3D val="0"/>
          <c:extLst>
            <c:ext xmlns:c15="http://schemas.microsoft.com/office/drawing/2012/chart" uri="{02D57815-91ED-43cb-92C2-25804820EDAC}">
              <c15:datalabelsRange>
                <c15:f>Sheet1!$E$2:$E$10</c15:f>
                <c15:dlblRangeCache>
                  <c:ptCount val="9"/>
                  <c:pt idx="0">
                    <c:v>Isdin</c:v>
                  </c:pt>
                  <c:pt idx="1">
                    <c:v>Avene</c:v>
                  </c:pt>
                  <c:pt idx="2">
                    <c:v>Neutrogena</c:v>
                  </c:pt>
                  <c:pt idx="3">
                    <c:v>La Roche-Posay</c:v>
                  </c:pt>
                  <c:pt idx="4">
                    <c:v>Eucerin</c:v>
                  </c:pt>
                  <c:pt idx="5">
                    <c:v>Heliocare</c:v>
                  </c:pt>
                  <c:pt idx="6">
                    <c:v>Photoderm</c:v>
                  </c:pt>
                  <c:pt idx="7">
                    <c:v>Vich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8"/>
          <c:min val="24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31386C-91F1-4AAB-A422-B08167607C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34AB44-AC0D-4E32-9742-5C7464F182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2BA3F3-2297-452A-B1E7-D2ED7BDE73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F7D6B2C-EB4F-4561-BB21-84B15115B5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93DC2A0-473F-48F2-B079-233E30ABE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93D4A5B-5CD1-400C-AA70-FFE1EA3980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ECD2570-FDD7-417D-986E-C9E68C77D4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E735A40-F42B-4722-B0FB-57C743FFBC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597.97450000000003</c:v>
                </c:pt>
                <c:pt idx="1">
                  <c:v>566.36</c:v>
                </c:pt>
                <c:pt idx="2">
                  <c:v>246.7004</c:v>
                </c:pt>
              </c:numCache>
            </c:numRef>
          </c:xVal>
          <c:yVal>
            <c:numRef>
              <c:f>Sheet1!$B$2:$B$4</c:f>
              <c:numCache>
                <c:formatCode>General</c:formatCode>
                <c:ptCount val="3"/>
                <c:pt idx="0">
                  <c:v>0.72099999999999997</c:v>
                </c:pt>
                <c:pt idx="1">
                  <c:v>1.2230000000000001</c:v>
                </c:pt>
                <c:pt idx="2">
                  <c:v>1.397</c:v>
                </c:pt>
              </c:numCache>
            </c:numRef>
          </c:yVal>
          <c:bubbleSize>
            <c:numRef>
              <c:f>Sheet1!$C$2:$C$4</c:f>
              <c:numCache>
                <c:formatCode>General</c:formatCode>
                <c:ptCount val="3"/>
                <c:pt idx="0">
                  <c:v>1685690</c:v>
                </c:pt>
                <c:pt idx="1">
                  <c:v>1592038</c:v>
                </c:pt>
                <c:pt idx="2">
                  <c:v>1269767</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Eclipso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8"/>
          <c:min val="19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E8E2964-36DA-4876-A62A-D20705F9A8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D393AE-8427-4F6F-9817-3F319B58DD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5EF817-1461-4249-96F5-277B1A0C3B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32EA14D-C71C-4074-9AB6-7DE96371BE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633A358-482C-4990-A00C-5F45236D31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D50F971-8E43-4554-A73C-B7B73EE98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C4616BE-41AF-428C-BF0F-21254EB82B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B298C2C-8142-4DAD-9308-DC379F86A3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57.53</c:v>
                </c:pt>
                <c:pt idx="1">
                  <c:v>539.44320000000005</c:v>
                </c:pt>
                <c:pt idx="2">
                  <c:v>718.29409999999996</c:v>
                </c:pt>
              </c:numCache>
            </c:numRef>
          </c:xVal>
          <c:yVal>
            <c:numRef>
              <c:f>Sheet1!$B$2:$B$4</c:f>
              <c:numCache>
                <c:formatCode>General</c:formatCode>
                <c:ptCount val="3"/>
                <c:pt idx="0">
                  <c:v>0.98299999999999998</c:v>
                </c:pt>
                <c:pt idx="1">
                  <c:v>1.0369999999999999</c:v>
                </c:pt>
                <c:pt idx="2">
                  <c:v>0</c:v>
                </c:pt>
              </c:numCache>
            </c:numRef>
          </c:yVal>
          <c:bubbleSize>
            <c:numRef>
              <c:f>Sheet1!$C$2:$C$4</c:f>
              <c:numCache>
                <c:formatCode>General</c:formatCode>
                <c:ptCount val="3"/>
                <c:pt idx="0">
                  <c:v>2693243</c:v>
                </c:pt>
                <c:pt idx="1">
                  <c:v>284826</c:v>
                </c:pt>
                <c:pt idx="2">
                  <c:v>36633</c:v>
                </c:pt>
              </c:numCache>
            </c:numRef>
          </c:bubbleSize>
          <c:bubble3D val="0"/>
          <c:extLst>
            <c:ext xmlns:c15="http://schemas.microsoft.com/office/drawing/2012/chart" uri="{02D57815-91ED-43cb-92C2-25804820EDAC}">
              <c15:datalabelsRange>
                <c15:f>Sheet1!$E$2:$E$10</c15:f>
                <c15:dlblRangeCache>
                  <c:ptCount val="9"/>
                  <c:pt idx="0">
                    <c:v>Photoderm</c:v>
                  </c:pt>
                  <c:pt idx="1">
                    <c:v>La Roche-Posay</c:v>
                  </c:pt>
                  <c:pt idx="2">
                    <c:v>Genov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2"/>
          <c:min val="43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CE0B0A6-F9CD-4FCC-80FC-58A2090E8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F32051A-083B-40C1-9A4E-1B69AC7526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5889BBF-C85F-4B3C-A4A1-4D4105E9DF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4CD1BC1-D123-4204-A41D-E1EFD07FE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B9B8B07-63FD-425E-B61E-A395D56194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919F5CC-0237-4C31-9D66-1561D173F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30522CF-866A-46CC-B981-DC88F7090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9DA20E1-1760-4F48-ABE4-B8CFDA54C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28.661</c:v>
                </c:pt>
              </c:numCache>
            </c:numRef>
          </c:xVal>
          <c:yVal>
            <c:numRef>
              <c:f>Sheet1!$B$2:$B$2</c:f>
              <c:numCache>
                <c:formatCode>General</c:formatCode>
                <c:ptCount val="1"/>
                <c:pt idx="0">
                  <c:v>1</c:v>
                </c:pt>
              </c:numCache>
            </c:numRef>
          </c:yVal>
          <c:bubbleSize>
            <c:numRef>
              <c:f>Sheet1!$C$2:$C$2</c:f>
              <c:numCache>
                <c:formatCode>General</c:formatCode>
                <c:ptCount val="1"/>
                <c:pt idx="0">
                  <c:v>4708412</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4"/>
          <c:min val="34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F9651C-2485-4002-AF4F-E6302D25D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5C1A65-8C07-4D68-AE70-1C542149B3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91B17A6-D5DF-48F6-9271-618D7F419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6CB349B-C860-4343-A0DD-80029E113B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B4054D3-0B91-4719-9EDC-8AEA2EA49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B342B96-A2F7-4074-AF93-289AC48C0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498C830-D661-470B-A17B-F56B8002A0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758279C-A574-4ADC-BBAF-A966D91C1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45.435</c:v>
                </c:pt>
                <c:pt idx="1">
                  <c:v>74.766199999999998</c:v>
                </c:pt>
              </c:numCache>
            </c:numRef>
          </c:xVal>
          <c:yVal>
            <c:numRef>
              <c:f>Sheet1!$B$2:$B$3</c:f>
              <c:numCache>
                <c:formatCode>General</c:formatCode>
                <c:ptCount val="2"/>
                <c:pt idx="0">
                  <c:v>1.2470000000000001</c:v>
                </c:pt>
                <c:pt idx="1">
                  <c:v>0.74399999999999999</c:v>
                </c:pt>
              </c:numCache>
            </c:numRef>
          </c:yVal>
          <c:bubbleSize>
            <c:numRef>
              <c:f>Sheet1!$C$2:$C$3</c:f>
              <c:numCache>
                <c:formatCode>General</c:formatCode>
                <c:ptCount val="2"/>
                <c:pt idx="0">
                  <c:v>34943802</c:v>
                </c:pt>
                <c:pt idx="1">
                  <c:v>16190032</c:v>
                </c:pt>
              </c:numCache>
            </c:numRef>
          </c:bubbleSize>
          <c:bubble3D val="0"/>
          <c:extLst>
            <c:ext xmlns:c15="http://schemas.microsoft.com/office/drawing/2012/chart" uri="{02D57815-91ED-43cb-92C2-25804820EDAC}">
              <c15:datalabelsRange>
                <c15:f>Sheet1!$E$2:$E$10</c15:f>
                <c15:dlblRangeCache>
                  <c:ptCount val="9"/>
                  <c:pt idx="0">
                    <c:v>Banana Boat</c:v>
                  </c:pt>
                  <c:pt idx="1">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5"/>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88D934D-2B3A-4531-8324-171E4D63A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02A3C8-3D82-4C4D-B055-327CD92FC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09B396E-6B23-4572-8E16-59C494DA03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7F96D2B-ECE6-469E-AF83-28BF1B08D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876C2EB-F55A-433B-8B37-F2A7353418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76238E1-121A-4732-9E43-8447FAF9F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1CCCC49-65C5-4915-A946-0E8BB69FD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8EC7A65-E48A-43B5-9F24-6CE6E171E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98.7268</c:v>
                </c:pt>
                <c:pt idx="1">
                  <c:v>263.1438</c:v>
                </c:pt>
              </c:numCache>
            </c:numRef>
          </c:xVal>
          <c:yVal>
            <c:numRef>
              <c:f>Sheet1!$B$2:$B$3</c:f>
              <c:numCache>
                <c:formatCode>General</c:formatCode>
                <c:ptCount val="2"/>
                <c:pt idx="0">
                  <c:v>0.97699999999999998</c:v>
                </c:pt>
                <c:pt idx="1">
                  <c:v>1.06</c:v>
                </c:pt>
              </c:numCache>
            </c:numRef>
          </c:yVal>
          <c:bubbleSize>
            <c:numRef>
              <c:f>Sheet1!$C$2:$C$3</c:f>
              <c:numCache>
                <c:formatCode>General</c:formatCode>
                <c:ptCount val="2"/>
                <c:pt idx="0">
                  <c:v>51049534</c:v>
                </c:pt>
                <c:pt idx="1">
                  <c:v>20995979</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6"/>
          <c:min val="1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3AE967-39C2-491D-AA90-3C2B0A007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DC4C0F21-55D5-4ABD-BBD2-2B327126A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A56644F-D300-4579-B344-86EA015E1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359AFBF-65BA-49A4-B085-F6DAAEF0E1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3F107B9-1A3A-4028-A451-9AEF4638FB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D3692A6-396F-4D6D-B1C8-DDF69A250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C6E8D72-8ECC-462E-8FCF-E600730023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2F50CF0-E696-4A68-82B0-10F068CA2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47.22380000000001</c:v>
                </c:pt>
              </c:numCache>
            </c:numRef>
          </c:xVal>
          <c:yVal>
            <c:numRef>
              <c:f>Sheet1!$B$2:$B$2</c:f>
              <c:numCache>
                <c:formatCode>General</c:formatCode>
                <c:ptCount val="1"/>
                <c:pt idx="0">
                  <c:v>0.99099999999999999</c:v>
                </c:pt>
              </c:numCache>
            </c:numRef>
          </c:yVal>
          <c:bubbleSize>
            <c:numRef>
              <c:f>Sheet1!$C$2:$C$2</c:f>
              <c:numCache>
                <c:formatCode>General</c:formatCode>
                <c:ptCount val="1"/>
                <c:pt idx="0">
                  <c:v>21721822</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7"/>
          <c:min val="19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939BD3C-41CE-4BF4-BCD5-4BE402FA6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623EDA4-F59C-44E5-B56D-0F9FE8872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95FC5CE-0445-408D-965D-86D44C7B1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679E64E-19B8-4B1D-9FE2-84E4958C2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FA0AA1E-07CF-4ED5-A1C9-A70221E403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1246E01-7614-4991-80DB-C1DE15F06B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CB02510-FE72-4C79-A22E-C63FF8BE5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8688BB1-C524-4B32-A489-5262B94BA6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3.387</c:v>
                </c:pt>
              </c:numCache>
            </c:numRef>
          </c:xVal>
          <c:yVal>
            <c:numRef>
              <c:f>Sheet1!$B$2:$B$2</c:f>
              <c:numCache>
                <c:formatCode>General</c:formatCode>
                <c:ptCount val="1"/>
                <c:pt idx="0">
                  <c:v>1</c:v>
                </c:pt>
              </c:numCache>
            </c:numRef>
          </c:yVal>
          <c:bubbleSize>
            <c:numRef>
              <c:f>Sheet1!$C$2:$C$2</c:f>
              <c:numCache>
                <c:formatCode>General</c:formatCode>
                <c:ptCount val="1"/>
                <c:pt idx="0">
                  <c:v>1434285</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4"/>
          <c:min val="16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07237EA-7B18-4F83-8C05-A3B1E86DF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BD996C0-CF5B-46E1-98AD-AEAC492F1C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78517D8-359B-4BDB-9759-D0B276153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6832E84-67F5-4FB7-BB82-5DA523158C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990751A-B8F7-4696-996C-03D1D8584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501239C-6B2B-4DBA-BC89-B30E9FBEDC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AC789AC-FD17-4A4F-945D-3A92B8D1DB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92EC8A7-5FA0-49A3-B553-A82F356A6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08.94280000000001</c:v>
                </c:pt>
                <c:pt idx="1">
                  <c:v>393.6909</c:v>
                </c:pt>
                <c:pt idx="2">
                  <c:v>320.19260000000003</c:v>
                </c:pt>
              </c:numCache>
            </c:numRef>
          </c:xVal>
          <c:yVal>
            <c:numRef>
              <c:f>Sheet1!$B$2:$B$4</c:f>
              <c:numCache>
                <c:formatCode>General</c:formatCode>
                <c:ptCount val="3"/>
                <c:pt idx="0">
                  <c:v>0.60199999999999998</c:v>
                </c:pt>
                <c:pt idx="1">
                  <c:v>2.2010000000000001</c:v>
                </c:pt>
                <c:pt idx="2">
                  <c:v>2.2890000000000001</c:v>
                </c:pt>
              </c:numCache>
            </c:numRef>
          </c:yVal>
          <c:bubbleSize>
            <c:numRef>
              <c:f>Sheet1!$C$2:$C$4</c:f>
              <c:numCache>
                <c:formatCode>General</c:formatCode>
                <c:ptCount val="3"/>
                <c:pt idx="0">
                  <c:v>792520</c:v>
                </c:pt>
                <c:pt idx="1">
                  <c:v>599985</c:v>
                </c:pt>
                <c:pt idx="2">
                  <c:v>319232</c:v>
                </c:pt>
              </c:numCache>
            </c:numRef>
          </c:bubbleSize>
          <c:bubble3D val="0"/>
          <c:extLst>
            <c:ext xmlns:c15="http://schemas.microsoft.com/office/drawing/2012/chart" uri="{02D57815-91ED-43cb-92C2-25804820EDAC}">
              <c15:datalabelsRange>
                <c15:f>Sheet1!$E$2:$E$10</c15:f>
                <c15:dlblRangeCache>
                  <c:ptCount val="9"/>
                  <c:pt idx="0">
                    <c:v>Banana Boat</c:v>
                  </c:pt>
                  <c:pt idx="1">
                    <c:v>Australian Gold</c:v>
                  </c:pt>
                  <c:pt idx="2">
                    <c:v>Ocean Po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2"/>
          <c:min val="1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B991DD-FEBF-4E23-BCFC-A21510EF4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7C911AE-491C-4DC4-A41E-8469AC74E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80EEA18-3628-4DA7-834C-6CA4CD76A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E942D79-C907-4DEF-BF18-632A15821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52207A3-30FD-482F-8EF9-A8498E7C3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2796654-213E-40F9-AD1F-67A075D664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8F2B336-7EE6-4D9D-AB2B-CC20ED5041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9F9BEBF-2952-4497-B931-A5E34A7B4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08.55500000000001</c:v>
                </c:pt>
              </c:numCache>
            </c:numRef>
          </c:xVal>
          <c:yVal>
            <c:numRef>
              <c:f>Sheet1!$B$2:$B$2</c:f>
              <c:numCache>
                <c:formatCode>General</c:formatCode>
                <c:ptCount val="1"/>
                <c:pt idx="0">
                  <c:v>1</c:v>
                </c:pt>
              </c:numCache>
            </c:numRef>
          </c:yVal>
          <c:bubbleSize>
            <c:numRef>
              <c:f>Sheet1!$C$2:$C$2</c:f>
              <c:numCache>
                <c:formatCode>General</c:formatCode>
                <c:ptCount val="1"/>
                <c:pt idx="0">
                  <c:v>101711</c:v>
                </c:pt>
              </c:numCache>
            </c:numRef>
          </c:bubbleSize>
          <c:bubble3D val="0"/>
          <c:extLst>
            <c:ext xmlns:c15="http://schemas.microsoft.com/office/drawing/2012/chart" uri="{02D57815-91ED-43cb-92C2-25804820EDAC}">
              <c15:datalabelsRange>
                <c15:f>Sheet1!$E$2:$E$10</c15:f>
                <c15:dlblRangeCache>
                  <c:ptCount val="9"/>
                  <c:pt idx="0">
                    <c:v>Helio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10"/>
          <c:min val="40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86BD3E-4019-4C8E-A335-73C425063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A6DA3B-9861-480C-94EE-545E1054E3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393C87-EEA4-4FF9-A56E-3F3B089C0B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7D06A5-F14D-43ED-A1D4-9A6E703D17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C3AAEF-4CF1-4FD1-961E-E02DCCCAED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009BC11-A080-499C-8641-5AB73598F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945B686-FA85-498B-B5F0-44EE2DE1A9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5133FF4-227E-4472-9F45-185AB9BDF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4.6395</c:v>
                </c:pt>
                <c:pt idx="1">
                  <c:v>215.3323</c:v>
                </c:pt>
                <c:pt idx="2">
                  <c:v>613.25300000000004</c:v>
                </c:pt>
                <c:pt idx="3">
                  <c:v>473.81650000000002</c:v>
                </c:pt>
                <c:pt idx="4">
                  <c:v>668.79639999999995</c:v>
                </c:pt>
                <c:pt idx="5">
                  <c:v>300.41239999999999</c:v>
                </c:pt>
                <c:pt idx="6">
                  <c:v>684.904</c:v>
                </c:pt>
                <c:pt idx="7">
                  <c:v>625.82529999999997</c:v>
                </c:pt>
              </c:numCache>
            </c:numRef>
          </c:xVal>
          <c:yVal>
            <c:numRef>
              <c:f>Sheet1!$B$2:$B$9</c:f>
              <c:numCache>
                <c:formatCode>General</c:formatCode>
                <c:ptCount val="8"/>
                <c:pt idx="0">
                  <c:v>0.92800000000000005</c:v>
                </c:pt>
                <c:pt idx="1">
                  <c:v>0.505</c:v>
                </c:pt>
                <c:pt idx="2">
                  <c:v>2.8860000000000001</c:v>
                </c:pt>
                <c:pt idx="3">
                  <c:v>3.58</c:v>
                </c:pt>
                <c:pt idx="4">
                  <c:v>3.484</c:v>
                </c:pt>
                <c:pt idx="5">
                  <c:v>1.4259999999999999</c:v>
                </c:pt>
                <c:pt idx="6">
                  <c:v>3.335</c:v>
                </c:pt>
                <c:pt idx="7">
                  <c:v>5.0510000000000002</c:v>
                </c:pt>
              </c:numCache>
            </c:numRef>
          </c:yVal>
          <c:bubbleSize>
            <c:numRef>
              <c:f>Sheet1!$C$2:$C$9</c:f>
              <c:numCache>
                <c:formatCode>General</c:formatCode>
                <c:ptCount val="8"/>
                <c:pt idx="0">
                  <c:v>1061675102</c:v>
                </c:pt>
                <c:pt idx="1">
                  <c:v>729443109</c:v>
                </c:pt>
                <c:pt idx="2">
                  <c:v>629447145</c:v>
                </c:pt>
                <c:pt idx="3">
                  <c:v>515691034</c:v>
                </c:pt>
                <c:pt idx="4">
                  <c:v>254231596</c:v>
                </c:pt>
                <c:pt idx="5">
                  <c:v>163812487</c:v>
                </c:pt>
                <c:pt idx="6">
                  <c:v>117340498</c:v>
                </c:pt>
                <c:pt idx="7">
                  <c:v>116991163</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pt idx="3">
                    <c:v>L'Oreal</c:v>
                  </c:pt>
                  <c:pt idx="4">
                    <c:v>Pierre Fabre</c:v>
                  </c:pt>
                  <c:pt idx="5">
                    <c:v>J&amp;J</c:v>
                  </c:pt>
                  <c:pt idx="6">
                    <c:v>Bioderma</c:v>
                  </c:pt>
                  <c:pt idx="7">
                    <c:v>If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2"/>
          <c:min val="17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25A584B4-9458-441B-BFA5-83F69BE644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DE00DC3-EEC7-44F4-9B02-5C7B1532D8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83490C26-D96D-4539-8A6A-B007391E3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DED93D0A-C89A-4184-87E1-3F76035A5C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F7F35F4F-DAA8-42DB-9988-28D180049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3CF3B55E-7C7B-4348-A567-A774AB5DA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B4277855-2099-4150-8235-CBAFABB55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CC1254F9-DF06-4E60-951E-560B74D25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14.13599999999997</c:v>
                </c:pt>
                <c:pt idx="1">
                  <c:v>645.86260000000004</c:v>
                </c:pt>
                <c:pt idx="2">
                  <c:v>726.0145</c:v>
                </c:pt>
                <c:pt idx="3">
                  <c:v>646.51089999999999</c:v>
                </c:pt>
                <c:pt idx="4">
                  <c:v>592.42269999999996</c:v>
                </c:pt>
                <c:pt idx="5">
                  <c:v>581.06089999999995</c:v>
                </c:pt>
              </c:numCache>
            </c:numRef>
          </c:xVal>
          <c:yVal>
            <c:numRef>
              <c:f>Sheet1!$B$2:$B$7</c:f>
              <c:numCache>
                <c:formatCode>General</c:formatCode>
                <c:ptCount val="6"/>
                <c:pt idx="0">
                  <c:v>0.94399999999999995</c:v>
                </c:pt>
                <c:pt idx="1">
                  <c:v>0.996</c:v>
                </c:pt>
                <c:pt idx="2">
                  <c:v>1.2</c:v>
                </c:pt>
                <c:pt idx="3">
                  <c:v>0.996</c:v>
                </c:pt>
                <c:pt idx="4">
                  <c:v>0.91100000000000003</c:v>
                </c:pt>
                <c:pt idx="5">
                  <c:v>1.149</c:v>
                </c:pt>
              </c:numCache>
            </c:numRef>
          </c:yVal>
          <c:bubbleSize>
            <c:numRef>
              <c:f>Sheet1!$C$2:$C$7</c:f>
              <c:numCache>
                <c:formatCode>General</c:formatCode>
                <c:ptCount val="6"/>
                <c:pt idx="0">
                  <c:v>147422120</c:v>
                </c:pt>
                <c:pt idx="1">
                  <c:v>96362699</c:v>
                </c:pt>
                <c:pt idx="2">
                  <c:v>58831861</c:v>
                </c:pt>
                <c:pt idx="3">
                  <c:v>26462337</c:v>
                </c:pt>
                <c:pt idx="4">
                  <c:v>21888242</c:v>
                </c:pt>
                <c:pt idx="5">
                  <c:v>18933868</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Heliocare</c:v>
                  </c:pt>
                  <c:pt idx="4">
                    <c:v>Eucerin</c:v>
                  </c:pt>
                  <c:pt idx="5">
                    <c:v>Photoderm</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1"/>
          <c:min val="46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C99224-0F4D-460B-946A-C2F8922644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CB3B0E-696E-4FEF-83FA-F9A08E2FD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C650360-4AF5-4B7B-B84D-29B6694D6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356364-5611-4699-B379-087DCBA8E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F610119-A6EA-493D-9BA2-7399F465DD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2A61D51-699B-4AA9-B8B9-D38BE88376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BD8B1C5-D6B1-42A3-BDB2-CA2444C1E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0E8FDE9-71CE-4DCD-9D76-2FAF7DE6D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7.40600000000001</c:v>
                </c:pt>
                <c:pt idx="1">
                  <c:v>216.3296</c:v>
                </c:pt>
                <c:pt idx="2">
                  <c:v>612.90509999999995</c:v>
                </c:pt>
                <c:pt idx="3">
                  <c:v>474.70659999999998</c:v>
                </c:pt>
                <c:pt idx="4">
                  <c:v>682.46749999999997</c:v>
                </c:pt>
                <c:pt idx="5">
                  <c:v>300.99579999999997</c:v>
                </c:pt>
                <c:pt idx="6">
                  <c:v>708.92679999999996</c:v>
                </c:pt>
                <c:pt idx="7">
                  <c:v>630.8039</c:v>
                </c:pt>
              </c:numCache>
            </c:numRef>
          </c:xVal>
          <c:yVal>
            <c:numRef>
              <c:f>Sheet1!$B$2:$B$9</c:f>
              <c:numCache>
                <c:formatCode>General</c:formatCode>
                <c:ptCount val="8"/>
                <c:pt idx="0">
                  <c:v>0.92</c:v>
                </c:pt>
                <c:pt idx="1">
                  <c:v>0.502</c:v>
                </c:pt>
                <c:pt idx="2">
                  <c:v>2.7789999999999999</c:v>
                </c:pt>
                <c:pt idx="3">
                  <c:v>3.6150000000000002</c:v>
                </c:pt>
                <c:pt idx="4">
                  <c:v>3.4430000000000001</c:v>
                </c:pt>
                <c:pt idx="5">
                  <c:v>1.4159999999999999</c:v>
                </c:pt>
                <c:pt idx="6">
                  <c:v>3.6160000000000001</c:v>
                </c:pt>
                <c:pt idx="7">
                  <c:v>5.194</c:v>
                </c:pt>
              </c:numCache>
            </c:numRef>
          </c:yVal>
          <c:bubbleSize>
            <c:numRef>
              <c:f>Sheet1!$C$2:$C$9</c:f>
              <c:numCache>
                <c:formatCode>General</c:formatCode>
                <c:ptCount val="8"/>
                <c:pt idx="0">
                  <c:v>972587776</c:v>
                </c:pt>
                <c:pt idx="1">
                  <c:v>702844348</c:v>
                </c:pt>
                <c:pt idx="2">
                  <c:v>560154823</c:v>
                </c:pt>
                <c:pt idx="3">
                  <c:v>483564137</c:v>
                </c:pt>
                <c:pt idx="4">
                  <c:v>224598015</c:v>
                </c:pt>
                <c:pt idx="5">
                  <c:v>161084241</c:v>
                </c:pt>
                <c:pt idx="6">
                  <c:v>111973578</c:v>
                </c:pt>
                <c:pt idx="7">
                  <c:v>107053730</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pt idx="3">
                    <c:v>L'Oreal</c:v>
                  </c:pt>
                  <c:pt idx="4">
                    <c:v>Pierre Fabre</c:v>
                  </c:pt>
                  <c:pt idx="5">
                    <c:v>J&amp;J</c:v>
                  </c:pt>
                  <c:pt idx="6">
                    <c:v>Bioderma</c:v>
                  </c:pt>
                  <c:pt idx="7">
                    <c:v>If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1"/>
          <c:min val="17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03860B-0C25-4181-9D3E-07758100CD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69ECD4-8381-48C2-A01C-7431D4F58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CAFB34-E9C0-4443-BAF5-2486AB77A6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4392410-9FC9-4370-A3A8-985323DEFA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24FD219-6732-4438-832D-C4814B271B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4991103-0F67-402C-996D-A4A2C6EF8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EB4F161-87FB-4EAA-82D5-C7B4AC350B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2C374E7-71BE-4522-B8FC-5F31787B9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21.58029999999997</c:v>
                </c:pt>
                <c:pt idx="1">
                  <c:v>408.13959999999997</c:v>
                </c:pt>
                <c:pt idx="2">
                  <c:v>564.20489999999995</c:v>
                </c:pt>
                <c:pt idx="3">
                  <c:v>220.21690000000001</c:v>
                </c:pt>
                <c:pt idx="4">
                  <c:v>711.79629999999997</c:v>
                </c:pt>
                <c:pt idx="5">
                  <c:v>629.3922</c:v>
                </c:pt>
                <c:pt idx="6">
                  <c:v>742.15970000000004</c:v>
                </c:pt>
                <c:pt idx="7">
                  <c:v>322.41210000000001</c:v>
                </c:pt>
              </c:numCache>
            </c:numRef>
          </c:xVal>
          <c:yVal>
            <c:numRef>
              <c:f>Sheet1!$B$2:$B$9</c:f>
              <c:numCache>
                <c:formatCode>General</c:formatCode>
                <c:ptCount val="8"/>
                <c:pt idx="0">
                  <c:v>1.6619999999999999</c:v>
                </c:pt>
                <c:pt idx="1">
                  <c:v>0.89500000000000002</c:v>
                </c:pt>
                <c:pt idx="2">
                  <c:v>2.3959999999999999</c:v>
                </c:pt>
                <c:pt idx="3">
                  <c:v>0.30599999999999999</c:v>
                </c:pt>
                <c:pt idx="4">
                  <c:v>2.125</c:v>
                </c:pt>
                <c:pt idx="5">
                  <c:v>3.0310000000000001</c:v>
                </c:pt>
                <c:pt idx="6">
                  <c:v>2.1539999999999999</c:v>
                </c:pt>
                <c:pt idx="7">
                  <c:v>0.90300000000000002</c:v>
                </c:pt>
              </c:numCache>
            </c:numRef>
          </c:yVal>
          <c:bubbleSize>
            <c:numRef>
              <c:f>Sheet1!$C$2:$C$9</c:f>
              <c:numCache>
                <c:formatCode>General</c:formatCode>
                <c:ptCount val="8"/>
                <c:pt idx="0">
                  <c:v>452020654</c:v>
                </c:pt>
                <c:pt idx="1">
                  <c:v>393062086</c:v>
                </c:pt>
                <c:pt idx="2">
                  <c:v>368630038</c:v>
                </c:pt>
                <c:pt idx="3">
                  <c:v>204779692</c:v>
                </c:pt>
                <c:pt idx="4">
                  <c:v>196515563</c:v>
                </c:pt>
                <c:pt idx="5">
                  <c:v>105982088</c:v>
                </c:pt>
                <c:pt idx="6">
                  <c:v>99522130</c:v>
                </c:pt>
                <c:pt idx="7">
                  <c:v>58968533</c:v>
                </c:pt>
              </c:numCache>
            </c:numRef>
          </c:bubbleSize>
          <c:bubble3D val="0"/>
          <c:extLst>
            <c:ext xmlns:c15="http://schemas.microsoft.com/office/drawing/2012/chart" uri="{02D57815-91ED-43cb-92C2-25804820EDAC}">
              <c15:datalabelsRange>
                <c15:f>Sheet1!$E$2:$E$10</c15:f>
                <c15:dlblRangeCache>
                  <c:ptCount val="9"/>
                  <c:pt idx="0">
                    <c:v>Isdin</c:v>
                  </c:pt>
                  <c:pt idx="1">
                    <c:v>Beiersdorf</c:v>
                  </c:pt>
                  <c:pt idx="2">
                    <c:v>L'Oreal</c:v>
                  </c:pt>
                  <c:pt idx="3">
                    <c:v>Edgewell</c:v>
                  </c:pt>
                  <c:pt idx="4">
                    <c:v>Pierre Fabre</c:v>
                  </c:pt>
                  <c:pt idx="5">
                    <c:v>Ifc</c:v>
                  </c:pt>
                  <c:pt idx="6">
                    <c:v>Bioderma</c:v>
                  </c:pt>
                  <c:pt idx="7">
                    <c:v>J&amp;J</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1"/>
          <c:min val="17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AD0BAC-D33F-4545-A078-BA623D94C9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E6DD33-B34A-4B20-9843-C170ED09C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395E857-E9FD-40D8-B1F3-71E5DF8965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337C7C-CE2E-479E-A457-F371F851EB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21ADB0D-235C-49EB-AA4E-0B9338882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3AD717-7A5E-4A0F-9FEC-49CE00634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CCD738D-6C96-4C36-A39F-60245C57C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B994467-7A91-44BA-B1F3-BE58BDD293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6.53360000000001</c:v>
                </c:pt>
                <c:pt idx="1">
                  <c:v>186.22190000000001</c:v>
                </c:pt>
                <c:pt idx="2">
                  <c:v>451.89089999999999</c:v>
                </c:pt>
                <c:pt idx="3">
                  <c:v>75.024699999999996</c:v>
                </c:pt>
                <c:pt idx="4">
                  <c:v>96.877300000000005</c:v>
                </c:pt>
                <c:pt idx="5">
                  <c:v>291.05380000000002</c:v>
                </c:pt>
              </c:numCache>
            </c:numRef>
          </c:xVal>
          <c:yVal>
            <c:numRef>
              <c:f>Sheet1!$B$2:$B$7</c:f>
              <c:numCache>
                <c:formatCode>General</c:formatCode>
                <c:ptCount val="6"/>
                <c:pt idx="0">
                  <c:v>1.331</c:v>
                </c:pt>
                <c:pt idx="1">
                  <c:v>0.79500000000000004</c:v>
                </c:pt>
                <c:pt idx="2">
                  <c:v>3.661</c:v>
                </c:pt>
                <c:pt idx="3">
                  <c:v>0.442</c:v>
                </c:pt>
                <c:pt idx="4">
                  <c:v>0.61699999999999999</c:v>
                </c:pt>
                <c:pt idx="5">
                  <c:v>1.7809999999999999</c:v>
                </c:pt>
              </c:numCache>
            </c:numRef>
          </c:yVal>
          <c:bubbleSize>
            <c:numRef>
              <c:f>Sheet1!$C$2:$C$7</c:f>
              <c:numCache>
                <c:formatCode>General</c:formatCode>
                <c:ptCount val="6"/>
                <c:pt idx="0">
                  <c:v>8719158</c:v>
                </c:pt>
                <c:pt idx="1">
                  <c:v>3445664</c:v>
                </c:pt>
                <c:pt idx="2">
                  <c:v>2920119</c:v>
                </c:pt>
                <c:pt idx="3">
                  <c:v>1470709</c:v>
                </c:pt>
                <c:pt idx="4">
                  <c:v>1076307</c:v>
                </c:pt>
                <c:pt idx="5">
                  <c:v>400490</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pt idx="3">
                    <c:v>Total Care De Mexico</c:v>
                  </c:pt>
                  <c:pt idx="4">
                    <c:v>Inds.Lavin De Mexico</c:v>
                  </c:pt>
                  <c:pt idx="5">
                    <c:v>Glaxosmithkli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2"/>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4A5B6E-ECCA-4BAD-A9CC-AB256B8C5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C01201-4023-458B-88DE-7AD4E333C5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99FAA74-1BF8-4F8A-8F40-4CC01A9B3C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475BFD9-7DD1-472C-A559-CC93995CC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9C39889-47F8-480C-8471-3AD67426C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69257BE-86A6-46AE-A6D9-9940E3EB9F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F057884-8A77-49D7-83DC-BA3355839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2A1DD7D-FA0E-4835-945F-891588EB29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1.45760000000001</c:v>
                </c:pt>
                <c:pt idx="1">
                  <c:v>214.76150000000001</c:v>
                </c:pt>
                <c:pt idx="2">
                  <c:v>313.97039999999998</c:v>
                </c:pt>
                <c:pt idx="3">
                  <c:v>577.1653</c:v>
                </c:pt>
                <c:pt idx="4">
                  <c:v>289.72449999999998</c:v>
                </c:pt>
                <c:pt idx="5">
                  <c:v>84.471800000000002</c:v>
                </c:pt>
                <c:pt idx="6">
                  <c:v>76.948499999999996</c:v>
                </c:pt>
                <c:pt idx="7">
                  <c:v>524.6259</c:v>
                </c:pt>
              </c:numCache>
            </c:numRef>
          </c:xVal>
          <c:yVal>
            <c:numRef>
              <c:f>Sheet1!$B$2:$B$9</c:f>
              <c:numCache>
                <c:formatCode>General</c:formatCode>
                <c:ptCount val="8"/>
                <c:pt idx="0">
                  <c:v>1.1000000000000001</c:v>
                </c:pt>
                <c:pt idx="1">
                  <c:v>0.75</c:v>
                </c:pt>
                <c:pt idx="2">
                  <c:v>4.2450000000000001</c:v>
                </c:pt>
                <c:pt idx="3">
                  <c:v>4.18</c:v>
                </c:pt>
                <c:pt idx="4">
                  <c:v>2.0569999999999999</c:v>
                </c:pt>
                <c:pt idx="5">
                  <c:v>0.41599999999999998</c:v>
                </c:pt>
                <c:pt idx="6">
                  <c:v>0.39400000000000002</c:v>
                </c:pt>
                <c:pt idx="7">
                  <c:v>4.4249999999999998</c:v>
                </c:pt>
              </c:numCache>
            </c:numRef>
          </c:yVal>
          <c:bubbleSize>
            <c:numRef>
              <c:f>Sheet1!$C$2:$C$9</c:f>
              <c:numCache>
                <c:formatCode>General</c:formatCode>
                <c:ptCount val="8"/>
                <c:pt idx="0">
                  <c:v>577505827</c:v>
                </c:pt>
                <c:pt idx="1">
                  <c:v>497073406</c:v>
                </c:pt>
                <c:pt idx="2">
                  <c:v>114932306</c:v>
                </c:pt>
                <c:pt idx="3">
                  <c:v>108131910</c:v>
                </c:pt>
                <c:pt idx="4">
                  <c:v>102115148</c:v>
                </c:pt>
                <c:pt idx="5">
                  <c:v>62397486</c:v>
                </c:pt>
                <c:pt idx="6">
                  <c:v>32893004</c:v>
                </c:pt>
                <c:pt idx="7">
                  <c:v>28081649</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L'Oreal</c:v>
                  </c:pt>
                  <c:pt idx="3">
                    <c:v>Isdin</c:v>
                  </c:pt>
                  <c:pt idx="4">
                    <c:v>J&amp;J</c:v>
                  </c:pt>
                  <c:pt idx="5">
                    <c:v>Total Care De Mexico</c:v>
                  </c:pt>
                  <c:pt idx="6">
                    <c:v>Inds.Lavin De Mexico</c:v>
                  </c:pt>
                  <c:pt idx="7">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0C0E51-B15E-4BD7-894E-A252E74F7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34130D-9FB2-4A55-AAEC-27326FC4A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5299910-6F34-4921-AE60-793D900948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EF184C-574F-4321-A775-45800581CE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1CCBB40-B7C0-474C-A88A-03879D0850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9C3B60F-A4B8-499C-8E3A-33A7D428A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6A4BFBC-6FBB-4885-BA65-2C7B53534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BD6F42F-198F-4F44-B89E-65AA58CF58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7.15730000000002</c:v>
                </c:pt>
                <c:pt idx="1">
                  <c:v>218.5891</c:v>
                </c:pt>
                <c:pt idx="2">
                  <c:v>613.25300000000004</c:v>
                </c:pt>
                <c:pt idx="3">
                  <c:v>495.7987</c:v>
                </c:pt>
                <c:pt idx="4">
                  <c:v>667.59280000000001</c:v>
                </c:pt>
                <c:pt idx="5">
                  <c:v>301.56990000000002</c:v>
                </c:pt>
                <c:pt idx="6">
                  <c:v>625.82529999999997</c:v>
                </c:pt>
                <c:pt idx="7">
                  <c:v>691.79600000000005</c:v>
                </c:pt>
              </c:numCache>
            </c:numRef>
          </c:xVal>
          <c:yVal>
            <c:numRef>
              <c:f>Sheet1!$B$2:$B$9</c:f>
              <c:numCache>
                <c:formatCode>General</c:formatCode>
                <c:ptCount val="8"/>
                <c:pt idx="0">
                  <c:v>0.90700000000000003</c:v>
                </c:pt>
                <c:pt idx="1">
                  <c:v>0.51200000000000001</c:v>
                </c:pt>
                <c:pt idx="2">
                  <c:v>2.7679999999999998</c:v>
                </c:pt>
                <c:pt idx="3">
                  <c:v>3.4550000000000001</c:v>
                </c:pt>
                <c:pt idx="4">
                  <c:v>3.2250000000000001</c:v>
                </c:pt>
                <c:pt idx="5">
                  <c:v>1.3660000000000001</c:v>
                </c:pt>
                <c:pt idx="6">
                  <c:v>4.8449999999999998</c:v>
                </c:pt>
                <c:pt idx="7">
                  <c:v>3.19</c:v>
                </c:pt>
              </c:numCache>
            </c:numRef>
          </c:yVal>
          <c:bubbleSize>
            <c:numRef>
              <c:f>Sheet1!$C$2:$C$9</c:f>
              <c:numCache>
                <c:formatCode>General</c:formatCode>
                <c:ptCount val="8"/>
                <c:pt idx="0">
                  <c:v>1041462305</c:v>
                </c:pt>
                <c:pt idx="1">
                  <c:v>665216662</c:v>
                </c:pt>
                <c:pt idx="2">
                  <c:v>629447145</c:v>
                </c:pt>
                <c:pt idx="3">
                  <c:v>487813340</c:v>
                </c:pt>
                <c:pt idx="4">
                  <c:v>228963641</c:v>
                </c:pt>
                <c:pt idx="5">
                  <c:v>163043442</c:v>
                </c:pt>
                <c:pt idx="6">
                  <c:v>116991163</c:v>
                </c:pt>
                <c:pt idx="7">
                  <c:v>116050165</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pt idx="3">
                    <c:v>L'Oreal</c:v>
                  </c:pt>
                  <c:pt idx="4">
                    <c:v>Pierre Fabre</c:v>
                  </c:pt>
                  <c:pt idx="5">
                    <c:v>J&amp;J</c:v>
                  </c:pt>
                  <c:pt idx="6">
                    <c:v>Ifc</c:v>
                  </c:pt>
                  <c:pt idx="7">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0"/>
          <c:min val="17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150E23-436C-4DB1-9FA3-B2AE1144B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04A9AA-652A-488D-87D7-84F7B3CDD9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A1C162-D3D3-40DC-97A8-80B69A314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2CCA9E-962B-4ED1-917B-43ECEFAFE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F8C14BE-B0E8-4A63-990C-BDF04D7B3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488898F-71DA-47FE-8F08-61BB15A14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25B4FCD-F384-4B5F-AC4A-4EC7255489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DC545E-B9FD-46DC-992C-D53B74521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9.59390000000002</c:v>
                </c:pt>
                <c:pt idx="1">
                  <c:v>219.70050000000001</c:v>
                </c:pt>
                <c:pt idx="2">
                  <c:v>612.90509999999995</c:v>
                </c:pt>
                <c:pt idx="3">
                  <c:v>495.9083</c:v>
                </c:pt>
                <c:pt idx="4">
                  <c:v>679.53219999999999</c:v>
                </c:pt>
                <c:pt idx="5">
                  <c:v>302.15910000000002</c:v>
                </c:pt>
                <c:pt idx="6">
                  <c:v>716.47730000000001</c:v>
                </c:pt>
                <c:pt idx="7">
                  <c:v>630.8039</c:v>
                </c:pt>
              </c:numCache>
            </c:numRef>
          </c:xVal>
          <c:yVal>
            <c:numRef>
              <c:f>Sheet1!$B$2:$B$9</c:f>
              <c:numCache>
                <c:formatCode>General</c:formatCode>
                <c:ptCount val="8"/>
                <c:pt idx="0">
                  <c:v>0.89600000000000002</c:v>
                </c:pt>
                <c:pt idx="1">
                  <c:v>0.51</c:v>
                </c:pt>
                <c:pt idx="2">
                  <c:v>2.6619999999999999</c:v>
                </c:pt>
                <c:pt idx="3">
                  <c:v>3.456</c:v>
                </c:pt>
                <c:pt idx="4">
                  <c:v>3.1320000000000001</c:v>
                </c:pt>
                <c:pt idx="5">
                  <c:v>1.3540000000000001</c:v>
                </c:pt>
                <c:pt idx="6">
                  <c:v>3.4460000000000002</c:v>
                </c:pt>
                <c:pt idx="7">
                  <c:v>4.9749999999999996</c:v>
                </c:pt>
              </c:numCache>
            </c:numRef>
          </c:yVal>
          <c:bubbleSize>
            <c:numRef>
              <c:f>Sheet1!$C$2:$C$9</c:f>
              <c:numCache>
                <c:formatCode>General</c:formatCode>
                <c:ptCount val="8"/>
                <c:pt idx="0">
                  <c:v>953866264</c:v>
                </c:pt>
                <c:pt idx="1">
                  <c:v>640243845</c:v>
                </c:pt>
                <c:pt idx="2">
                  <c:v>560154823</c:v>
                </c:pt>
                <c:pt idx="3">
                  <c:v>456076453</c:v>
                </c:pt>
                <c:pt idx="4">
                  <c:v>200006715</c:v>
                </c:pt>
                <c:pt idx="5">
                  <c:v>160315326</c:v>
                </c:pt>
                <c:pt idx="6">
                  <c:v>110692153</c:v>
                </c:pt>
                <c:pt idx="7">
                  <c:v>107053730</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pt idx="3">
                    <c:v>L'Oreal</c:v>
                  </c:pt>
                  <c:pt idx="4">
                    <c:v>Pierre Fabre</c:v>
                  </c:pt>
                  <c:pt idx="5">
                    <c:v>J&amp;J</c:v>
                  </c:pt>
                  <c:pt idx="6">
                    <c:v>Bioderma</c:v>
                  </c:pt>
                  <c:pt idx="7">
                    <c:v>If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0"/>
          <c:min val="17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111A10-6B97-4964-81F6-0E388F7F6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DF6ED4-27CB-4D30-9563-EDE426341A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1C6432-A6FC-4615-918E-C30AA5F0AB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B71C4E8-B440-4E96-9F2E-F8DD234479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55244CF-B7CD-4F56-B4EC-68D9C4D7C6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9BC7725-291F-40BB-BA3C-0762361CB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4CFD0A3-F157-4F9C-8D7D-BDC80281B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CF2F644-CE71-4E60-B3DE-4D8C7CBA67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21.58029999999997</c:v>
                </c:pt>
                <c:pt idx="1">
                  <c:v>407.97160000000002</c:v>
                </c:pt>
                <c:pt idx="2">
                  <c:v>597.60749999999996</c:v>
                </c:pt>
                <c:pt idx="3">
                  <c:v>702.84950000000003</c:v>
                </c:pt>
                <c:pt idx="4">
                  <c:v>227.01660000000001</c:v>
                </c:pt>
                <c:pt idx="5">
                  <c:v>629.3922</c:v>
                </c:pt>
                <c:pt idx="6">
                  <c:v>743.65520000000004</c:v>
                </c:pt>
                <c:pt idx="7">
                  <c:v>322.41210000000001</c:v>
                </c:pt>
              </c:numCache>
            </c:numRef>
          </c:xVal>
          <c:yVal>
            <c:numRef>
              <c:f>Sheet1!$B$2:$B$9</c:f>
              <c:numCache>
                <c:formatCode>General</c:formatCode>
                <c:ptCount val="8"/>
                <c:pt idx="0">
                  <c:v>1.554</c:v>
                </c:pt>
                <c:pt idx="1">
                  <c:v>0.83499999999999996</c:v>
                </c:pt>
                <c:pt idx="2">
                  <c:v>2.2280000000000002</c:v>
                </c:pt>
                <c:pt idx="3">
                  <c:v>1.877</c:v>
                </c:pt>
                <c:pt idx="4">
                  <c:v>0.315</c:v>
                </c:pt>
                <c:pt idx="5">
                  <c:v>2.8340000000000001</c:v>
                </c:pt>
                <c:pt idx="6">
                  <c:v>2.0049999999999999</c:v>
                </c:pt>
                <c:pt idx="7">
                  <c:v>0.84399999999999997</c:v>
                </c:pt>
              </c:numCache>
            </c:numRef>
          </c:yVal>
          <c:bubbleSize>
            <c:numRef>
              <c:f>Sheet1!$C$2:$C$9</c:f>
              <c:numCache>
                <c:formatCode>General</c:formatCode>
                <c:ptCount val="8"/>
                <c:pt idx="0">
                  <c:v>452020654</c:v>
                </c:pt>
                <c:pt idx="1">
                  <c:v>389186527</c:v>
                </c:pt>
                <c:pt idx="2">
                  <c:v>350547019</c:v>
                </c:pt>
                <c:pt idx="3">
                  <c:v>176225446</c:v>
                </c:pt>
                <c:pt idx="4">
                  <c:v>175059296</c:v>
                </c:pt>
                <c:pt idx="5">
                  <c:v>105982088</c:v>
                </c:pt>
                <c:pt idx="6">
                  <c:v>98950018</c:v>
                </c:pt>
                <c:pt idx="7">
                  <c:v>58968533</c:v>
                </c:pt>
              </c:numCache>
            </c:numRef>
          </c:bubbleSize>
          <c:bubble3D val="0"/>
          <c:extLst>
            <c:ext xmlns:c15="http://schemas.microsoft.com/office/drawing/2012/chart" uri="{02D57815-91ED-43cb-92C2-25804820EDAC}">
              <c15:datalabelsRange>
                <c15:f>Sheet1!$E$2:$E$10</c15:f>
                <c15:dlblRangeCache>
                  <c:ptCount val="9"/>
                  <c:pt idx="0">
                    <c:v>Isdin</c:v>
                  </c:pt>
                  <c:pt idx="1">
                    <c:v>Beiersdorf</c:v>
                  </c:pt>
                  <c:pt idx="2">
                    <c:v>L'Oreal</c:v>
                  </c:pt>
                  <c:pt idx="3">
                    <c:v>Pierre Fabre</c:v>
                  </c:pt>
                  <c:pt idx="4">
                    <c:v>Edgewell</c:v>
                  </c:pt>
                  <c:pt idx="5">
                    <c:v>Ifc</c:v>
                  </c:pt>
                  <c:pt idx="6">
                    <c:v>Bioderma</c:v>
                  </c:pt>
                  <c:pt idx="7">
                    <c:v>J&amp;J</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2"/>
          <c:min val="18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7998E4-F4A1-4495-9ADB-F6939CDD32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C13BA18-4C36-405A-BF91-9FB7C3B40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29D5499-4990-4D18-9222-FE85B851AF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3CF4BE0-31C8-4494-9261-2F0C9243D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EC9775-7054-45C0-9EB5-62465B2AA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562764D-1167-484C-AF35-829C100254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6808F67-E652-482E-B1A8-43AD77CE7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C860E3B-A091-4AD9-B1F2-9AB4F0B9F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6.9864</c:v>
                </c:pt>
                <c:pt idx="1">
                  <c:v>196.50540000000001</c:v>
                </c:pt>
                <c:pt idx="2">
                  <c:v>451.89089999999999</c:v>
                </c:pt>
                <c:pt idx="3">
                  <c:v>75.024699999999996</c:v>
                </c:pt>
                <c:pt idx="4">
                  <c:v>96.877300000000005</c:v>
                </c:pt>
                <c:pt idx="5">
                  <c:v>291.05380000000002</c:v>
                </c:pt>
              </c:numCache>
            </c:numRef>
          </c:xVal>
          <c:yVal>
            <c:numRef>
              <c:f>Sheet1!$B$2:$B$7</c:f>
              <c:numCache>
                <c:formatCode>General</c:formatCode>
                <c:ptCount val="6"/>
                <c:pt idx="0">
                  <c:v>1.3089999999999999</c:v>
                </c:pt>
                <c:pt idx="1">
                  <c:v>0.85499999999999998</c:v>
                </c:pt>
                <c:pt idx="2">
                  <c:v>3.5779999999999998</c:v>
                </c:pt>
                <c:pt idx="3">
                  <c:v>0.432</c:v>
                </c:pt>
                <c:pt idx="4">
                  <c:v>0.60299999999999998</c:v>
                </c:pt>
                <c:pt idx="5">
                  <c:v>1.7410000000000001</c:v>
                </c:pt>
              </c:numCache>
            </c:numRef>
          </c:yVal>
          <c:bubbleSize>
            <c:numRef>
              <c:f>Sheet1!$C$2:$C$7</c:f>
              <c:numCache>
                <c:formatCode>General</c:formatCode>
                <c:ptCount val="6"/>
                <c:pt idx="0">
                  <c:v>8685096</c:v>
                </c:pt>
                <c:pt idx="1">
                  <c:v>3097908</c:v>
                </c:pt>
                <c:pt idx="2">
                  <c:v>2920119</c:v>
                </c:pt>
                <c:pt idx="3">
                  <c:v>1470709</c:v>
                </c:pt>
                <c:pt idx="4">
                  <c:v>1076307</c:v>
                </c:pt>
                <c:pt idx="5">
                  <c:v>400490</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pt idx="3">
                    <c:v>Total Care De Mexico</c:v>
                  </c:pt>
                  <c:pt idx="4">
                    <c:v>Inds.Lavin De Mexico</c:v>
                  </c:pt>
                  <c:pt idx="5">
                    <c:v>Glaxosmithkli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2"/>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34490D-3BF7-481D-91E4-9AB7B9FF96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3891A3-3136-4C10-8419-BCAE1643D8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E8CFF5-87FF-40D7-B081-D342DB284A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A3ED821-1B1D-40BD-92B0-BDC5B99A4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2F8AF85-078B-440A-B9DA-A8602B9EAC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C6145AF-6657-48E8-9790-ECE110EB90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8CC345-E5EE-4550-8FED-1FCB3291B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67206C4-704E-4C93-85E4-BE2F082A3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3.52289999999999</c:v>
                </c:pt>
                <c:pt idx="1">
                  <c:v>217.06989999999999</c:v>
                </c:pt>
                <c:pt idx="2">
                  <c:v>577.1653</c:v>
                </c:pt>
                <c:pt idx="3">
                  <c:v>316.23989999999998</c:v>
                </c:pt>
                <c:pt idx="4">
                  <c:v>291.35789999999997</c:v>
                </c:pt>
                <c:pt idx="5">
                  <c:v>84.778300000000002</c:v>
                </c:pt>
                <c:pt idx="6">
                  <c:v>76.948599999999999</c:v>
                </c:pt>
                <c:pt idx="7">
                  <c:v>539.33180000000004</c:v>
                </c:pt>
              </c:numCache>
            </c:numRef>
          </c:xVal>
          <c:yVal>
            <c:numRef>
              <c:f>Sheet1!$B$2:$B$9</c:f>
              <c:numCache>
                <c:formatCode>General</c:formatCode>
                <c:ptCount val="8"/>
                <c:pt idx="0">
                  <c:v>1.0900000000000001</c:v>
                </c:pt>
                <c:pt idx="1">
                  <c:v>0.76400000000000001</c:v>
                </c:pt>
                <c:pt idx="2">
                  <c:v>4.0640000000000001</c:v>
                </c:pt>
                <c:pt idx="3">
                  <c:v>4.1189999999999998</c:v>
                </c:pt>
                <c:pt idx="4">
                  <c:v>1.9950000000000001</c:v>
                </c:pt>
                <c:pt idx="5">
                  <c:v>0.40899999999999997</c:v>
                </c:pt>
                <c:pt idx="6">
                  <c:v>0.38300000000000001</c:v>
                </c:pt>
                <c:pt idx="7">
                  <c:v>4.1369999999999996</c:v>
                </c:pt>
              </c:numCache>
            </c:numRef>
          </c:yVal>
          <c:bubbleSize>
            <c:numRef>
              <c:f>Sheet1!$C$2:$C$9</c:f>
              <c:numCache>
                <c:formatCode>General</c:formatCode>
                <c:ptCount val="8"/>
                <c:pt idx="0">
                  <c:v>562660025</c:v>
                </c:pt>
                <c:pt idx="1">
                  <c:v>464227988</c:v>
                </c:pt>
                <c:pt idx="2">
                  <c:v>108131910</c:v>
                </c:pt>
                <c:pt idx="3">
                  <c:v>105528003</c:v>
                </c:pt>
                <c:pt idx="4">
                  <c:v>101346207</c:v>
                </c:pt>
                <c:pt idx="5">
                  <c:v>61997244</c:v>
                </c:pt>
                <c:pt idx="6">
                  <c:v>32892975</c:v>
                </c:pt>
                <c:pt idx="7">
                  <c:v>23780757</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sdin</c:v>
                  </c:pt>
                  <c:pt idx="3">
                    <c:v>L'Oreal</c:v>
                  </c:pt>
                  <c:pt idx="4">
                    <c:v>J&amp;J</c:v>
                  </c:pt>
                  <c:pt idx="5">
                    <c:v>Total Care De Mexico</c:v>
                  </c:pt>
                  <c:pt idx="6">
                    <c:v>Inds.Lavin De Mexico</c:v>
                  </c:pt>
                  <c:pt idx="7">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44CB99-7C25-4B6B-B7E5-8DB05C4A3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EE059C-24AE-46FB-A8AD-F572C0DBE4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D74421E-DE06-427A-A28A-6ACC439601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E6B18B0-2FF5-433F-AA5C-BB06FA878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4C1B364-163A-4679-9AF1-F77F19C5DE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7CB547E-C299-4479-BF66-7DBD9CDC6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2C837B1-1797-48B5-96E9-BE4088729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A489801-777C-4943-860B-9753206AE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58.39229999999998</c:v>
                </c:pt>
                <c:pt idx="1">
                  <c:v>243.33779999999999</c:v>
                </c:pt>
                <c:pt idx="2">
                  <c:v>83.111999999999995</c:v>
                </c:pt>
                <c:pt idx="3">
                  <c:v>77.88</c:v>
                </c:pt>
                <c:pt idx="4">
                  <c:v>187.7775</c:v>
                </c:pt>
              </c:numCache>
            </c:numRef>
          </c:xVal>
          <c:yVal>
            <c:numRef>
              <c:f>Sheet1!$B$2:$B$6</c:f>
              <c:numCache>
                <c:formatCode>General</c:formatCode>
                <c:ptCount val="5"/>
                <c:pt idx="0">
                  <c:v>1.879</c:v>
                </c:pt>
                <c:pt idx="1">
                  <c:v>0.83599999999999997</c:v>
                </c:pt>
                <c:pt idx="2">
                  <c:v>0.48699999999999999</c:v>
                </c:pt>
                <c:pt idx="3">
                  <c:v>0.46800000000000003</c:v>
                </c:pt>
                <c:pt idx="4">
                  <c:v>3.4830000000000001</c:v>
                </c:pt>
              </c:numCache>
            </c:numRef>
          </c:yVal>
          <c:bubbleSize>
            <c:numRef>
              <c:f>Sheet1!$C$2:$C$6</c:f>
              <c:numCache>
                <c:formatCode>General</c:formatCode>
                <c:ptCount val="5"/>
                <c:pt idx="0">
                  <c:v>313276882</c:v>
                </c:pt>
                <c:pt idx="1">
                  <c:v>145384629</c:v>
                </c:pt>
                <c:pt idx="2">
                  <c:v>58867787</c:v>
                </c:pt>
                <c:pt idx="3">
                  <c:v>47145386</c:v>
                </c:pt>
                <c:pt idx="4">
                  <c:v>27380585</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Total Care De Mexico</c:v>
                  </c:pt>
                  <c:pt idx="3">
                    <c:v>Inds.Lavin De Mexico</c:v>
                  </c:pt>
                  <c:pt idx="4">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0"/>
          <c:min val="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A5084103-A1B2-4042-847C-5688775B9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57C27B3-9F78-4711-B7BC-03AB4B5DA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8A927026-8B7F-48E2-8FE7-91A691ECE6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0E7AE09D-6CCB-4CCA-977D-D7AB520C13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18FA57E9-07FC-482B-A6F4-7FB75C75A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337BA259-05D0-432F-9DB7-38982885E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3E61B470-AAAE-46A5-897D-FFC94F618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C8BB67C9-DB5F-4A5E-A6AB-A35064CE2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27.3288</c:v>
                </c:pt>
                <c:pt idx="1">
                  <c:v>623.38030000000003</c:v>
                </c:pt>
                <c:pt idx="2">
                  <c:v>577.38869999999997</c:v>
                </c:pt>
                <c:pt idx="3">
                  <c:v>646.18470000000002</c:v>
                </c:pt>
                <c:pt idx="4">
                  <c:v>721.47519999999997</c:v>
                </c:pt>
                <c:pt idx="5">
                  <c:v>495.24310000000003</c:v>
                </c:pt>
              </c:numCache>
            </c:numRef>
          </c:xVal>
          <c:yVal>
            <c:numRef>
              <c:f>Sheet1!$B$2:$B$7</c:f>
              <c:numCache>
                <c:formatCode>General</c:formatCode>
                <c:ptCount val="6"/>
                <c:pt idx="0">
                  <c:v>0.498</c:v>
                </c:pt>
                <c:pt idx="1">
                  <c:v>2.4279999999999999</c:v>
                </c:pt>
                <c:pt idx="2">
                  <c:v>2.2370000000000001</c:v>
                </c:pt>
                <c:pt idx="3">
                  <c:v>2.12</c:v>
                </c:pt>
                <c:pt idx="4">
                  <c:v>3.6</c:v>
                </c:pt>
                <c:pt idx="5">
                  <c:v>0.96799999999999997</c:v>
                </c:pt>
              </c:numCache>
            </c:numRef>
          </c:yVal>
          <c:bubbleSize>
            <c:numRef>
              <c:f>Sheet1!$C$2:$C$7</c:f>
              <c:numCache>
                <c:formatCode>General</c:formatCode>
                <c:ptCount val="6"/>
                <c:pt idx="0">
                  <c:v>112770510</c:v>
                </c:pt>
                <c:pt idx="1">
                  <c:v>91754106</c:v>
                </c:pt>
                <c:pt idx="2">
                  <c:v>61804261</c:v>
                </c:pt>
                <c:pt idx="3">
                  <c:v>23401579</c:v>
                </c:pt>
                <c:pt idx="4">
                  <c:v>13728230</c:v>
                </c:pt>
                <c:pt idx="5">
                  <c:v>6321283</c:v>
                </c:pt>
              </c:numCache>
            </c:numRef>
          </c:bubbleSize>
          <c:bubble3D val="0"/>
          <c:extLst>
            <c:ext xmlns:c15="http://schemas.microsoft.com/office/drawing/2012/chart" uri="{02D57815-91ED-43cb-92C2-25804820EDAC}">
              <c15:datalabelsRange>
                <c15:f>Sheet1!$E$2:$E$10</c15:f>
                <c15:dlblRangeCache>
                  <c:ptCount val="9"/>
                  <c:pt idx="0">
                    <c:v>Isdin</c:v>
                  </c:pt>
                  <c:pt idx="1">
                    <c:v>Eucerin</c:v>
                  </c:pt>
                  <c:pt idx="2">
                    <c:v>La Roche-Posay</c:v>
                  </c:pt>
                  <c:pt idx="3">
                    <c:v>Heliocare</c:v>
                  </c:pt>
                  <c:pt idx="4">
                    <c:v>Photoderm</c:v>
                  </c:pt>
                  <c:pt idx="5">
                    <c:v>Cetaphil</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6"/>
          <c:min val="39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3FD217-A2F7-4506-AF05-943C497079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3997589-9308-4BB5-A5E8-C4BEA6185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61F33CE-4944-43C5-9E1B-0E64A6AF0F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A86DE1D-39F0-4E1D-86F4-16014EA04E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883D243-F6A9-4EC6-AA6A-136B130355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2A98D4A-F5C3-4D7F-BB59-1F7C67D6C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E72D4EA-622F-44B2-8C67-78E3705E9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83E2BCA-4895-4A45-82D2-A128180C1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1935</c:v>
                </c:pt>
              </c:numCache>
            </c:numRef>
          </c:xVal>
          <c:yVal>
            <c:numRef>
              <c:f>Sheet1!$B$2:$B$2</c:f>
              <c:numCache>
                <c:formatCode>General</c:formatCode>
                <c:ptCount val="1"/>
                <c:pt idx="0">
                  <c:v>1</c:v>
                </c:pt>
              </c:numCache>
            </c:numRef>
          </c:yVal>
          <c:bubbleSize>
            <c:numRef>
              <c:f>Sheet1!$C$2:$C$2</c:f>
              <c:numCache>
                <c:formatCode>General</c:formatCode>
                <c:ptCount val="1"/>
                <c:pt idx="0">
                  <c:v>14208</c:v>
                </c:pt>
              </c:numCache>
            </c:numRef>
          </c:bubbleSize>
          <c:bubble3D val="0"/>
          <c:extLst>
            <c:ext xmlns:c15="http://schemas.microsoft.com/office/drawing/2012/chart" uri="{02D57815-91ED-43cb-92C2-25804820EDAC}">
              <c15:datalabelsRange>
                <c15:f>Sheet1!$E$2:$E$10</c15:f>
                <c15:dlblRangeCache>
                  <c:ptCount val="9"/>
                  <c:pt idx="0">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D846EFC-6693-478F-9E54-7D58CD890E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CF14BE-2001-4115-9512-1CB84C9588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2DA0374-4596-4E4A-8E18-D252B7544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1C2F5F9-3DCD-4029-9185-3DD6F7E53D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73A0B22-7180-43D6-8601-00CD99E16D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C6C0B7A-6CF0-4AB9-9E2F-19FA01D5E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BDB159C-80A7-40A7-8362-13F5D4AFC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0A77022-08F8-4FBC-A249-2CBE374637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61.5958</c:v>
                </c:pt>
                <c:pt idx="1">
                  <c:v>270.21260000000001</c:v>
                </c:pt>
              </c:numCache>
            </c:numRef>
          </c:xVal>
          <c:yVal>
            <c:numRef>
              <c:f>Sheet1!$B$2:$B$3</c:f>
              <c:numCache>
                <c:formatCode>General</c:formatCode>
                <c:ptCount val="2"/>
                <c:pt idx="0">
                  <c:v>1.006</c:v>
                </c:pt>
                <c:pt idx="1">
                  <c:v>0.85699999999999998</c:v>
                </c:pt>
              </c:numCache>
            </c:numRef>
          </c:yVal>
          <c:bubbleSize>
            <c:numRef>
              <c:f>Sheet1!$C$2:$C$3</c:f>
              <c:numCache>
                <c:formatCode>General</c:formatCode>
                <c:ptCount val="2"/>
                <c:pt idx="0">
                  <c:v>16500156</c:v>
                </c:pt>
                <c:pt idx="1">
                  <c:v>714442</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4"/>
          <c:min val="20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CC50A1-FECA-47D7-B1AE-AB74ED79CF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D5865408-BFB8-47AF-9926-0BF0CD7C0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8CBA4EE-1A88-4C84-A477-E72ED26216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813656C-8B8E-4EE9-870E-BBAE6C3B2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1D60D7B-9956-4090-8813-B96767BA9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CE8F6EF-8778-4FE7-A0F7-DC5BBF84E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3F0B37F-5D85-4C51-9355-455891160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5C85211-4A46-4227-AEF8-52A1DDDA2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74.8569</c:v>
                </c:pt>
              </c:numCache>
            </c:numRef>
          </c:xVal>
          <c:yVal>
            <c:numRef>
              <c:f>Sheet1!$B$2:$B$2</c:f>
              <c:numCache>
                <c:formatCode>General</c:formatCode>
                <c:ptCount val="1"/>
                <c:pt idx="0">
                  <c:v>0.997</c:v>
                </c:pt>
              </c:numCache>
            </c:numRef>
          </c:yVal>
          <c:bubbleSize>
            <c:numRef>
              <c:f>Sheet1!$C$2:$C$2</c:f>
              <c:numCache>
                <c:formatCode>General</c:formatCode>
                <c:ptCount val="1"/>
                <c:pt idx="0">
                  <c:v>129845148</c:v>
                </c:pt>
              </c:numCache>
            </c:numRef>
          </c:bubbleSize>
          <c:bubble3D val="0"/>
          <c:extLst>
            <c:ext xmlns:c15="http://schemas.microsoft.com/office/drawing/2012/chart" uri="{02D57815-91ED-43cb-92C2-25804820EDAC}">
              <c15:datalabelsRange>
                <c15:f>Sheet1!$E$2:$E$10</c15:f>
                <c15:dlblRangeCache>
                  <c:ptCount val="9"/>
                  <c:pt idx="0">
                    <c:v>Beiersdorf</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0"/>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AAED1C6-E6AC-4D61-96C5-7ED8B5EBF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6EB56C-E0B9-462E-B23B-35B5A4299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471F8BD-3622-41B7-98A4-9E20165FF5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4ECC9E6-B56F-48EC-BE03-05B67888A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103E59A-118C-4B5C-A2FA-E4407DF8F4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5B4EE87-BB45-493D-AD93-58983A7491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71FCE24-42CF-4FE4-9BD4-3C65809C2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6805435-D446-4450-A816-13972501DD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35.20339999999999</c:v>
                </c:pt>
                <c:pt idx="1">
                  <c:v>196.77610000000001</c:v>
                </c:pt>
              </c:numCache>
            </c:numRef>
          </c:xVal>
          <c:yVal>
            <c:numRef>
              <c:f>Sheet1!$B$2:$B$3</c:f>
              <c:numCache>
                <c:formatCode>General</c:formatCode>
                <c:ptCount val="2"/>
                <c:pt idx="0">
                  <c:v>0.98599999999999999</c:v>
                </c:pt>
                <c:pt idx="1">
                  <c:v>0.92900000000000005</c:v>
                </c:pt>
              </c:numCache>
            </c:numRef>
          </c:yVal>
          <c:bubbleSize>
            <c:numRef>
              <c:f>Sheet1!$C$2:$C$3</c:f>
              <c:numCache>
                <c:formatCode>General</c:formatCode>
                <c:ptCount val="2"/>
                <c:pt idx="0">
                  <c:v>318387310</c:v>
                </c:pt>
                <c:pt idx="1">
                  <c:v>254916588</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2"/>
          <c:min val="15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DB7775-25CE-408C-8521-E5D8ED455E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1617FCC-4A75-4466-B0C7-6BBEE357F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5CE5B33-9C51-4825-A0BB-E7F0CAB52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6DB2B53-D1F6-4E72-B1A8-4089CDD07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03DB7CB-125C-4706-A6D9-3AB5B9DB9F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BC44D76-061E-4DD0-81C3-18EF9A8AB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C573E13-05B4-487F-9B14-5C5825BFC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CDDFEA8-8A3D-4C30-AF29-A6155B824C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62.02730000000003</c:v>
                </c:pt>
                <c:pt idx="1">
                  <c:v>404.45150000000001</c:v>
                </c:pt>
                <c:pt idx="2">
                  <c:v>211.91800000000001</c:v>
                </c:pt>
              </c:numCache>
            </c:numRef>
          </c:xVal>
          <c:yVal>
            <c:numRef>
              <c:f>Sheet1!$B$2:$B$4</c:f>
              <c:numCache>
                <c:formatCode>General</c:formatCode>
                <c:ptCount val="3"/>
                <c:pt idx="0">
                  <c:v>0.96699999999999997</c:v>
                </c:pt>
                <c:pt idx="1">
                  <c:v>4.4260000000000002</c:v>
                </c:pt>
                <c:pt idx="2">
                  <c:v>0.96199999999999997</c:v>
                </c:pt>
              </c:numCache>
            </c:numRef>
          </c:yVal>
          <c:bubbleSize>
            <c:numRef>
              <c:f>Sheet1!$C$2:$C$4</c:f>
              <c:numCache>
                <c:formatCode>General</c:formatCode>
                <c:ptCount val="3"/>
                <c:pt idx="0">
                  <c:v>65122427</c:v>
                </c:pt>
                <c:pt idx="1">
                  <c:v>2967056</c:v>
                </c:pt>
                <c:pt idx="2">
                  <c:v>2052638</c:v>
                </c:pt>
              </c:numCache>
            </c:numRef>
          </c:bubbleSize>
          <c:bubble3D val="0"/>
          <c:extLst>
            <c:ext xmlns:c15="http://schemas.microsoft.com/office/drawing/2012/chart" uri="{02D57815-91ED-43cb-92C2-25804820EDAC}">
              <c15:datalabelsRange>
                <c15:f>Sheet1!$E$2:$E$10</c15:f>
                <c15:dlblRangeCache>
                  <c:ptCount val="9"/>
                  <c:pt idx="0">
                    <c:v>Edgewell</c:v>
                  </c:pt>
                  <c:pt idx="1">
                    <c:v>Labs. Expanscience</c:v>
                  </c:pt>
                  <c:pt idx="2">
                    <c:v>Sun &amp; Skin Care Resear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85"/>
          <c:min val="1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5E5294-824E-424E-ABB2-697D835DC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C4DEB7F-0FE6-483D-BB80-A854DC61F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7D0DFAD-16A3-40C5-BDBF-8BC7C4596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F511F29-76BB-4DA8-9D84-8FDF2A7C8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F716849-389B-4EDD-87AC-8C2DFF312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816F3A3-BCEC-41B6-90FB-551AA40F5B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6201EA6-AD14-47FA-901E-D7F58D9A1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1581831-4B73-4F62-95C2-7D18C6D588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4.3065</c:v>
                </c:pt>
              </c:numCache>
            </c:numRef>
          </c:xVal>
          <c:yVal>
            <c:numRef>
              <c:f>Sheet1!$B$2:$B$2</c:f>
              <c:numCache>
                <c:formatCode>General</c:formatCode>
                <c:ptCount val="1"/>
                <c:pt idx="0">
                  <c:v>1</c:v>
                </c:pt>
              </c:numCache>
            </c:numRef>
          </c:yVal>
          <c:bubbleSize>
            <c:numRef>
              <c:f>Sheet1!$C$2:$C$2</c:f>
              <c:numCache>
                <c:formatCode>General</c:formatCode>
                <c:ptCount val="1"/>
                <c:pt idx="0">
                  <c:v>1572343</c:v>
                </c:pt>
              </c:numCache>
            </c:numRef>
          </c:bubbleSize>
          <c:bubble3D val="0"/>
          <c:extLst>
            <c:ext xmlns:c15="http://schemas.microsoft.com/office/drawing/2012/chart" uri="{02D57815-91ED-43cb-92C2-25804820EDAC}">
              <c15:datalabelsRange>
                <c15:f>Sheet1!$E$2:$E$10</c15:f>
                <c15:dlblRangeCache>
                  <c:ptCount val="9"/>
                  <c:pt idx="0">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5"/>
          <c:min val="16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C518AA9-F167-439A-BFE9-8BFEF457F9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E4F2B67F-6951-4FE9-9D1C-74FFC3F90E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64FB107-56E8-406A-9B27-154E94C89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3896641-BF43-4526-B648-C86657CED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EDE6527-B739-4712-8E8C-BEF6035167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A02D796-33B1-499C-B5A9-204F6C9BA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4E1CE83-48F7-4D1A-AEBD-C399360B38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476012A-FB31-447B-9059-F3D84C033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05699999999999</c:v>
                </c:pt>
              </c:numCache>
            </c:numRef>
          </c:xVal>
          <c:yVal>
            <c:numRef>
              <c:f>Sheet1!$B$2:$B$2</c:f>
              <c:numCache>
                <c:formatCode>General</c:formatCode>
                <c:ptCount val="1"/>
                <c:pt idx="0">
                  <c:v>0.93899999999999995</c:v>
                </c:pt>
              </c:numCache>
            </c:numRef>
          </c:yVal>
          <c:bubbleSize>
            <c:numRef>
              <c:f>Sheet1!$C$2:$C$2</c:f>
              <c:numCache>
                <c:formatCode>General</c:formatCode>
                <c:ptCount val="1"/>
                <c:pt idx="0">
                  <c:v>13435038</c:v>
                </c:pt>
              </c:numCache>
            </c:numRef>
          </c:bubbleSize>
          <c:bubble3D val="0"/>
          <c:extLst>
            <c:ext xmlns:c15="http://schemas.microsoft.com/office/drawing/2012/chart" uri="{02D57815-91ED-43cb-92C2-25804820EDAC}">
              <c15:datalabelsRange>
                <c15:f>Sheet1!$E$2:$E$10</c15:f>
                <c15:dlblRangeCache>
                  <c:ptCount val="9"/>
                  <c:pt idx="0">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8"/>
          <c:min val="17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00E772-77A7-46A4-8F64-E273EE448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1985CCF-5BD0-4023-B5BC-3A47809E27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20E4D52-FECA-482A-A6F6-244824BFDF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6509FB0-31D3-42A6-B3F1-6571CDA8B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0052C8D-1672-4A4D-B304-77ACF7181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87F9F1B-F670-4710-A060-D5E4ED7EF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E61EAF5-C71C-4876-A1D9-BBA863C8C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EDA9975-34C7-4EAB-BCD3-1B7BE1FC6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63.82780000000002</c:v>
                </c:pt>
                <c:pt idx="1">
                  <c:v>348.69290000000001</c:v>
                </c:pt>
                <c:pt idx="2">
                  <c:v>318.44499999999999</c:v>
                </c:pt>
                <c:pt idx="3">
                  <c:v>398.262</c:v>
                </c:pt>
              </c:numCache>
            </c:numRef>
          </c:xVal>
          <c:yVal>
            <c:numRef>
              <c:f>Sheet1!$B$2:$B$5</c:f>
              <c:numCache>
                <c:formatCode>General</c:formatCode>
                <c:ptCount val="4"/>
                <c:pt idx="0">
                  <c:v>0.58799999999999997</c:v>
                </c:pt>
                <c:pt idx="1">
                  <c:v>2.06</c:v>
                </c:pt>
                <c:pt idx="2">
                  <c:v>2.1360000000000001</c:v>
                </c:pt>
                <c:pt idx="3">
                  <c:v>2.097</c:v>
                </c:pt>
              </c:numCache>
            </c:numRef>
          </c:yVal>
          <c:bubbleSize>
            <c:numRef>
              <c:f>Sheet1!$C$2:$C$5</c:f>
              <c:numCache>
                <c:formatCode>General</c:formatCode>
                <c:ptCount val="4"/>
                <c:pt idx="0">
                  <c:v>2320629</c:v>
                </c:pt>
                <c:pt idx="1">
                  <c:v>2139231</c:v>
                </c:pt>
                <c:pt idx="2">
                  <c:v>871584</c:v>
                </c:pt>
                <c:pt idx="3">
                  <c:v>191564</c:v>
                </c:pt>
              </c:numCache>
            </c:numRef>
          </c:bubbleSize>
          <c:bubble3D val="0"/>
          <c:extLst>
            <c:ext xmlns:c15="http://schemas.microsoft.com/office/drawing/2012/chart" uri="{02D57815-91ED-43cb-92C2-25804820EDAC}">
              <c15:datalabelsRange>
                <c15:f>Sheet1!$E$2:$E$10</c15:f>
                <c15:dlblRangeCache>
                  <c:ptCount val="9"/>
                  <c:pt idx="0">
                    <c:v>Edgewell</c:v>
                  </c:pt>
                  <c:pt idx="1">
                    <c:v>Australian Gold</c:v>
                  </c:pt>
                  <c:pt idx="2">
                    <c:v>Sun &amp; Skin Care Research</c:v>
                  </c:pt>
                  <c:pt idx="3">
                    <c:v>Labs. Expanscie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8"/>
          <c:min val="2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F29CF2-DA0F-4AAE-87BA-555B6E4190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D5E182FE-0610-4EA4-9924-BDD0D7DC4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0F5F5E4-AC98-4392-B9FF-1EB6F22E5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5161743-E54F-4D6D-AA4C-E467CD842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1FA77B7-6F84-4690-A487-B6664BBBE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7524687-F85F-4ADF-8CF1-547D95846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0B45775-A8EF-4150-9CB0-B0146FAE6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7FF24BA-3FFE-4950-8675-75D48C357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50.09210000000002</c:v>
                </c:pt>
              </c:numCache>
            </c:numRef>
          </c:xVal>
          <c:yVal>
            <c:numRef>
              <c:f>Sheet1!$B$2:$B$2</c:f>
              <c:numCache>
                <c:formatCode>General</c:formatCode>
                <c:ptCount val="1"/>
                <c:pt idx="0">
                  <c:v>0.51700000000000002</c:v>
                </c:pt>
              </c:numCache>
            </c:numRef>
          </c:yVal>
          <c:bubbleSize>
            <c:numRef>
              <c:f>Sheet1!$C$2:$C$2</c:f>
              <c:numCache>
                <c:formatCode>General</c:formatCode>
                <c:ptCount val="1"/>
                <c:pt idx="0">
                  <c:v>2161819</c:v>
                </c:pt>
              </c:numCache>
            </c:numRef>
          </c:bubbleSize>
          <c:bubble3D val="0"/>
          <c:extLst>
            <c:ext xmlns:c15="http://schemas.microsoft.com/office/drawing/2012/chart" uri="{02D57815-91ED-43cb-92C2-25804820EDAC}">
              <c15:datalabelsRange>
                <c15:f>Sheet1!$E$2:$E$10</c15:f>
                <c15:dlblRangeCache>
                  <c:ptCount val="9"/>
                  <c:pt idx="0">
                    <c:v>J&amp;J</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38C9A8-742D-4E5E-8086-42D2D9738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FCD3DD-A781-48CC-9D71-010C0A61F0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22D9075-4076-49C3-AC07-9745DE43F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8FE34B2-9C05-4657-9E0B-40202DA54E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07289A1-D220-46B2-8496-C298F30B8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8B61CB1-B34D-49BE-AEFF-9DC2D26B8A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C200778-1FBB-4C3F-9FAB-2B381AE27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A31F7C3-5DAA-4DC7-963F-405879D10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561.15350000000001</c:v>
                </c:pt>
                <c:pt idx="1">
                  <c:v>632.50260000000003</c:v>
                </c:pt>
                <c:pt idx="2">
                  <c:v>678.15869999999995</c:v>
                </c:pt>
              </c:numCache>
            </c:numRef>
          </c:xVal>
          <c:yVal>
            <c:numRef>
              <c:f>Sheet1!$B$2:$B$4</c:f>
              <c:numCache>
                <c:formatCode>General</c:formatCode>
                <c:ptCount val="3"/>
                <c:pt idx="0">
                  <c:v>1.665</c:v>
                </c:pt>
                <c:pt idx="1">
                  <c:v>0.80900000000000005</c:v>
                </c:pt>
                <c:pt idx="2">
                  <c:v>0.86499999999999999</c:v>
                </c:pt>
              </c:numCache>
            </c:numRef>
          </c:yVal>
          <c:bubbleSize>
            <c:numRef>
              <c:f>Sheet1!$C$2:$C$4</c:f>
              <c:numCache>
                <c:formatCode>General</c:formatCode>
                <c:ptCount val="3"/>
                <c:pt idx="0">
                  <c:v>32972821</c:v>
                </c:pt>
                <c:pt idx="1">
                  <c:v>29936346</c:v>
                </c:pt>
                <c:pt idx="2">
                  <c:v>3764459</c:v>
                </c:pt>
              </c:numCache>
            </c:numRef>
          </c:bubbleSize>
          <c:bubble3D val="0"/>
          <c:extLst>
            <c:ext xmlns:c15="http://schemas.microsoft.com/office/drawing/2012/chart" uri="{02D57815-91ED-43cb-92C2-25804820EDAC}">
              <c15:datalabelsRange>
                <c15:f>Sheet1!$E$2:$E$10</c15:f>
                <c15:dlblRangeCache>
                  <c:ptCount val="9"/>
                  <c:pt idx="0">
                    <c:v>L'Oreal</c:v>
                  </c:pt>
                  <c:pt idx="1">
                    <c:v>Isdin</c:v>
                  </c:pt>
                  <c:pt idx="2">
                    <c:v>If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4"/>
          <c:min val="44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B968A056-2FB6-4BCB-AC76-8030955CE0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6A9C99A6-5C6A-40D7-BC06-9F3D6E428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4D974678-3DDB-40B7-9F70-81792D6C1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53C66A4F-FAE2-44E0-A357-F2121B6A5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B51F751C-21EC-4B4E-B31C-3AB66033BF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20AA2BFC-43CA-4A56-ACF8-31DC7B73A6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82EA2FA2-1951-441A-9B6A-2759B59250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5868EF28-D367-45EB-A2A5-26CDAE83C0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78.49900000000002</c:v>
                </c:pt>
                <c:pt idx="1">
                  <c:v>788.79700000000003</c:v>
                </c:pt>
              </c:numCache>
            </c:numRef>
          </c:xVal>
          <c:yVal>
            <c:numRef>
              <c:f>Sheet1!$B$2:$B$3</c:f>
              <c:numCache>
                <c:formatCode>General</c:formatCode>
                <c:ptCount val="2"/>
                <c:pt idx="0">
                  <c:v>0.90100000000000002</c:v>
                </c:pt>
                <c:pt idx="1">
                  <c:v>2.1040000000000001</c:v>
                </c:pt>
              </c:numCache>
            </c:numRef>
          </c:yVal>
          <c:bubbleSize>
            <c:numRef>
              <c:f>Sheet1!$C$2:$C$3</c:f>
              <c:numCache>
                <c:formatCode>General</c:formatCode>
                <c:ptCount val="2"/>
                <c:pt idx="0">
                  <c:v>34963731</c:v>
                </c:pt>
                <c:pt idx="1">
                  <c:v>7290851</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7"/>
          <c:min val="54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03C6ABD-2340-438B-8459-B4E37393E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7ADA07-6B41-4683-BE16-F24716641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0B4B3F-B872-4546-BEC9-EE05571CA9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112657-F6AD-43CE-9D2D-F2EA37112F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8748529-8447-4163-BE50-4C3B39E12A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9D73EE6-96BB-4CC9-BB7A-E09954FBB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6C5420E-FBBB-4130-B4A7-A39935E7D8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72C0B52-DC98-4713-8525-06905C2DAC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16.96550000000002</c:v>
                </c:pt>
                <c:pt idx="1">
                  <c:v>652.45590000000004</c:v>
                </c:pt>
                <c:pt idx="2">
                  <c:v>301.11059999999998</c:v>
                </c:pt>
                <c:pt idx="3">
                  <c:v>678.93600000000004</c:v>
                </c:pt>
                <c:pt idx="4">
                  <c:v>692.55909999999994</c:v>
                </c:pt>
                <c:pt idx="5">
                  <c:v>624.06190000000004</c:v>
                </c:pt>
                <c:pt idx="6">
                  <c:v>701.09299999999996</c:v>
                </c:pt>
                <c:pt idx="7">
                  <c:v>332.98180000000002</c:v>
                </c:pt>
              </c:numCache>
            </c:numRef>
          </c:xVal>
          <c:yVal>
            <c:numRef>
              <c:f>Sheet1!$B$2:$B$9</c:f>
              <c:numCache>
                <c:formatCode>General</c:formatCode>
                <c:ptCount val="8"/>
                <c:pt idx="0">
                  <c:v>2.0150000000000001</c:v>
                </c:pt>
                <c:pt idx="1">
                  <c:v>1.214</c:v>
                </c:pt>
                <c:pt idx="2">
                  <c:v>0.53800000000000003</c:v>
                </c:pt>
                <c:pt idx="3">
                  <c:v>1.365</c:v>
                </c:pt>
                <c:pt idx="4">
                  <c:v>1.321</c:v>
                </c:pt>
                <c:pt idx="5">
                  <c:v>2.0430000000000001</c:v>
                </c:pt>
                <c:pt idx="6">
                  <c:v>3.0049999999999999</c:v>
                </c:pt>
                <c:pt idx="7">
                  <c:v>0.621</c:v>
                </c:pt>
              </c:numCache>
            </c:numRef>
          </c:yVal>
          <c:bubbleSize>
            <c:numRef>
              <c:f>Sheet1!$C$2:$C$9</c:f>
              <c:numCache>
                <c:formatCode>General</c:formatCode>
                <c:ptCount val="8"/>
                <c:pt idx="0">
                  <c:v>328173180</c:v>
                </c:pt>
                <c:pt idx="1">
                  <c:v>160915842</c:v>
                </c:pt>
                <c:pt idx="2">
                  <c:v>160839713</c:v>
                </c:pt>
                <c:pt idx="3">
                  <c:v>155149107</c:v>
                </c:pt>
                <c:pt idx="4">
                  <c:v>104277234</c:v>
                </c:pt>
                <c:pt idx="5">
                  <c:v>50723131</c:v>
                </c:pt>
                <c:pt idx="6">
                  <c:v>49077211</c:v>
                </c:pt>
                <c:pt idx="7">
                  <c:v>32875626</c:v>
                </c:pt>
              </c:numCache>
            </c:numRef>
          </c:bubbleSize>
          <c:bubble3D val="0"/>
          <c:extLst>
            <c:ext xmlns:c15="http://schemas.microsoft.com/office/drawing/2012/chart" uri="{02D57815-91ED-43cb-92C2-25804820EDAC}">
              <c15:datalabelsRange>
                <c15:f>Sheet1!$E$2:$E$10</c15:f>
                <c15:dlblRangeCache>
                  <c:ptCount val="9"/>
                  <c:pt idx="0">
                    <c:v>Isdin</c:v>
                  </c:pt>
                  <c:pt idx="1">
                    <c:v>Pierre Fabre</c:v>
                  </c:pt>
                  <c:pt idx="2">
                    <c:v>J&amp;J</c:v>
                  </c:pt>
                  <c:pt idx="3">
                    <c:v>L'Oreal</c:v>
                  </c:pt>
                  <c:pt idx="4">
                    <c:v>Beiersdorf</c:v>
                  </c:pt>
                  <c:pt idx="5">
                    <c:v>Ifc</c:v>
                  </c:pt>
                  <c:pt idx="6">
                    <c:v>Bioderma</c:v>
                  </c:pt>
                  <c:pt idx="7">
                    <c:v>Glaxosmithkli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1"/>
          <c:min val="24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0046AC-D3BB-47E3-95A9-BCE145342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25668D-22D5-451F-9F12-4DBCF409F7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C24E9F-D21F-4685-A623-5680648CD5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56EFAB-93CC-467B-9B4C-04F2352ED8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6301F89-8ECC-4E34-A8FA-5EE87D09A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061D77-384D-46B8-A03D-F26CD97615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EAB0AAE-0320-4BDD-B943-9A232C7FA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3DAE65F-F482-4FF3-A774-ABA0E6D8D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14.13599999999997</c:v>
                </c:pt>
                <c:pt idx="1">
                  <c:v>645.86260000000004</c:v>
                </c:pt>
                <c:pt idx="2">
                  <c:v>726.0145</c:v>
                </c:pt>
                <c:pt idx="3">
                  <c:v>646.51089999999999</c:v>
                </c:pt>
                <c:pt idx="4">
                  <c:v>592.42269999999996</c:v>
                </c:pt>
                <c:pt idx="5">
                  <c:v>581.06089999999995</c:v>
                </c:pt>
              </c:numCache>
            </c:numRef>
          </c:xVal>
          <c:yVal>
            <c:numRef>
              <c:f>Sheet1!$B$2:$B$7</c:f>
              <c:numCache>
                <c:formatCode>General</c:formatCode>
                <c:ptCount val="6"/>
                <c:pt idx="0">
                  <c:v>0.94399999999999995</c:v>
                </c:pt>
                <c:pt idx="1">
                  <c:v>0.996</c:v>
                </c:pt>
                <c:pt idx="2">
                  <c:v>1.2</c:v>
                </c:pt>
                <c:pt idx="3">
                  <c:v>0.996</c:v>
                </c:pt>
                <c:pt idx="4">
                  <c:v>0.91100000000000003</c:v>
                </c:pt>
                <c:pt idx="5">
                  <c:v>1.149</c:v>
                </c:pt>
              </c:numCache>
            </c:numRef>
          </c:yVal>
          <c:bubbleSize>
            <c:numRef>
              <c:f>Sheet1!$C$2:$C$7</c:f>
              <c:numCache>
                <c:formatCode>General</c:formatCode>
                <c:ptCount val="6"/>
                <c:pt idx="0">
                  <c:v>147422120</c:v>
                </c:pt>
                <c:pt idx="1">
                  <c:v>96362699</c:v>
                </c:pt>
                <c:pt idx="2">
                  <c:v>58831861</c:v>
                </c:pt>
                <c:pt idx="3">
                  <c:v>26462337</c:v>
                </c:pt>
                <c:pt idx="4">
                  <c:v>21888242</c:v>
                </c:pt>
                <c:pt idx="5">
                  <c:v>18933868</c:v>
                </c:pt>
              </c:numCache>
            </c:numRef>
          </c:bubbleSize>
          <c:bubble3D val="0"/>
          <c:extLst>
            <c:ext xmlns:c15="http://schemas.microsoft.com/office/drawing/2012/chart" uri="{02D57815-91ED-43cb-92C2-25804820EDAC}">
              <c15:datalabelsRange>
                <c15:f>Sheet1!$E$2:$E$10</c15:f>
                <c15:dlblRangeCache>
                  <c:ptCount val="9"/>
                  <c:pt idx="0">
                    <c:v>L'Oreal</c:v>
                  </c:pt>
                  <c:pt idx="1">
                    <c:v>Isdin</c:v>
                  </c:pt>
                  <c:pt idx="2">
                    <c:v>Pierre Fabre</c:v>
                  </c:pt>
                  <c:pt idx="3">
                    <c:v>Ifc</c:v>
                  </c:pt>
                  <c:pt idx="4">
                    <c:v>Beiersdorf</c:v>
                  </c:pt>
                  <c:pt idx="5">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1"/>
          <c:min val="46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21D12F1-22B3-4DBC-9E24-52085244A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8D22F1-6506-40CC-A959-8CEF91B63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438A8F5-8536-4F08-8361-4CDF869691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511D720-76A4-45BF-939E-745ACD3B6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03A4A6C-4989-4E10-9AF1-836C5C38F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16146B9-DCB8-4CFB-B1A2-7BB25123B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0ED1FB5-3DAE-476A-9B79-6883AB06F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A7EC098-84E5-4583-BD50-D4173F5DA4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27.3288</c:v>
                </c:pt>
                <c:pt idx="1">
                  <c:v>623.38030000000003</c:v>
                </c:pt>
                <c:pt idx="2">
                  <c:v>577.39689999999996</c:v>
                </c:pt>
                <c:pt idx="3">
                  <c:v>646.18470000000002</c:v>
                </c:pt>
                <c:pt idx="4">
                  <c:v>721.47519999999997</c:v>
                </c:pt>
                <c:pt idx="5">
                  <c:v>495.24310000000003</c:v>
                </c:pt>
              </c:numCache>
            </c:numRef>
          </c:xVal>
          <c:yVal>
            <c:numRef>
              <c:f>Sheet1!$B$2:$B$7</c:f>
              <c:numCache>
                <c:formatCode>General</c:formatCode>
                <c:ptCount val="6"/>
                <c:pt idx="0">
                  <c:v>0.498</c:v>
                </c:pt>
                <c:pt idx="1">
                  <c:v>2.4279999999999999</c:v>
                </c:pt>
                <c:pt idx="2">
                  <c:v>2.2370000000000001</c:v>
                </c:pt>
                <c:pt idx="3">
                  <c:v>2.12</c:v>
                </c:pt>
                <c:pt idx="4">
                  <c:v>3.6</c:v>
                </c:pt>
                <c:pt idx="5">
                  <c:v>0.96799999999999997</c:v>
                </c:pt>
              </c:numCache>
            </c:numRef>
          </c:yVal>
          <c:bubbleSize>
            <c:numRef>
              <c:f>Sheet1!$C$2:$C$7</c:f>
              <c:numCache>
                <c:formatCode>General</c:formatCode>
                <c:ptCount val="6"/>
                <c:pt idx="0">
                  <c:v>112770510</c:v>
                </c:pt>
                <c:pt idx="1">
                  <c:v>91754106</c:v>
                </c:pt>
                <c:pt idx="2">
                  <c:v>61806296</c:v>
                </c:pt>
                <c:pt idx="3">
                  <c:v>23401579</c:v>
                </c:pt>
                <c:pt idx="4">
                  <c:v>13728230</c:v>
                </c:pt>
                <c:pt idx="5">
                  <c:v>6321283</c:v>
                </c:pt>
              </c:numCache>
            </c:numRef>
          </c:bubbleSize>
          <c:bubble3D val="0"/>
          <c:extLst>
            <c:ext xmlns:c15="http://schemas.microsoft.com/office/drawing/2012/chart" uri="{02D57815-91ED-43cb-92C2-25804820EDAC}">
              <c15:datalabelsRange>
                <c15:f>Sheet1!$E$2:$E$10</c15:f>
                <c15:dlblRangeCache>
                  <c:ptCount val="9"/>
                  <c:pt idx="0">
                    <c:v>Isdin</c:v>
                  </c:pt>
                  <c:pt idx="1">
                    <c:v>Beiersdorf</c:v>
                  </c:pt>
                  <c:pt idx="2">
                    <c:v>L'Oreal</c:v>
                  </c:pt>
                  <c:pt idx="3">
                    <c:v>Ifc</c:v>
                  </c:pt>
                  <c:pt idx="4">
                    <c:v>Bioderma</c:v>
                  </c:pt>
                  <c:pt idx="5">
                    <c:v>Gal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6"/>
          <c:min val="39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E8A7EA5-0DF6-46D1-8CDF-C9722589E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813C26-6ABB-40AC-B703-049677A3A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9CCE8C7-5116-4F30-8432-49CF55791A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EF1254C-0B99-441A-BBF4-AE08EE23B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0B35469-590F-40EF-A9E1-324CC9776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28FE6A0-EA08-4998-A712-38F91CE947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7979D89-087A-4813-B463-980A124B7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9702DF4-3341-4116-A46A-10D7815A7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78.49900000000002</c:v>
                </c:pt>
                <c:pt idx="1">
                  <c:v>788.79700000000003</c:v>
                </c:pt>
              </c:numCache>
            </c:numRef>
          </c:xVal>
          <c:yVal>
            <c:numRef>
              <c:f>Sheet1!$B$2:$B$3</c:f>
              <c:numCache>
                <c:formatCode>General</c:formatCode>
                <c:ptCount val="2"/>
                <c:pt idx="0">
                  <c:v>0.90100000000000002</c:v>
                </c:pt>
                <c:pt idx="1">
                  <c:v>2.1040000000000001</c:v>
                </c:pt>
              </c:numCache>
            </c:numRef>
          </c:yVal>
          <c:bubbleSize>
            <c:numRef>
              <c:f>Sheet1!$C$2:$C$3</c:f>
              <c:numCache>
                <c:formatCode>General</c:formatCode>
                <c:ptCount val="2"/>
                <c:pt idx="0">
                  <c:v>34963731</c:v>
                </c:pt>
                <c:pt idx="1">
                  <c:v>7290851</c:v>
                </c:pt>
              </c:numCache>
            </c:numRef>
          </c:bubbleSize>
          <c:bubble3D val="0"/>
          <c:extLst>
            <c:ext xmlns:c15="http://schemas.microsoft.com/office/drawing/2012/chart" uri="{02D57815-91ED-43cb-92C2-25804820EDAC}">
              <c15:datalabelsRange>
                <c15:f>Sheet1!$E$2:$E$10</c15:f>
                <c15:dlblRangeCache>
                  <c:ptCount val="9"/>
                  <c:pt idx="0">
                    <c:v>Beiersdorf</c:v>
                  </c:pt>
                  <c:pt idx="1">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7"/>
          <c:min val="54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D565229-5FE6-4BA4-852B-BBB123FB85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DD62209-E58D-433D-BCE7-3829BD710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D8DB744-F261-4978-890A-F92923A018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0EB0B0-BC0F-4E4B-AB06-DD7DD401B3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42EFA0E-C140-4DEB-B8FB-FB1A819D0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DB3257F-28C4-4BE1-8AB3-FF418A705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7EAE98B-A0EE-4EEA-87D6-C0FB8C32A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19DC589-F5CE-475F-B04D-0A6E2BAB5B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316.64830000000001</c:v>
                </c:pt>
                <c:pt idx="1">
                  <c:v>623.33420000000001</c:v>
                </c:pt>
                <c:pt idx="2">
                  <c:v>675.7758</c:v>
                </c:pt>
                <c:pt idx="3">
                  <c:v>505.11149999999998</c:v>
                </c:pt>
                <c:pt idx="4">
                  <c:v>594.25900000000001</c:v>
                </c:pt>
                <c:pt idx="5">
                  <c:v>418.52390000000003</c:v>
                </c:pt>
                <c:pt idx="6">
                  <c:v>839.40419999999995</c:v>
                </c:pt>
              </c:numCache>
            </c:numRef>
          </c:xVal>
          <c:yVal>
            <c:numRef>
              <c:f>Sheet1!$B$2:$B$8</c:f>
              <c:numCache>
                <c:formatCode>General</c:formatCode>
                <c:ptCount val="7"/>
                <c:pt idx="0">
                  <c:v>1.2130000000000001</c:v>
                </c:pt>
                <c:pt idx="1">
                  <c:v>1.478</c:v>
                </c:pt>
                <c:pt idx="2">
                  <c:v>0.78300000000000003</c:v>
                </c:pt>
                <c:pt idx="3">
                  <c:v>0.78900000000000003</c:v>
                </c:pt>
                <c:pt idx="4">
                  <c:v>0.47899999999999998</c:v>
                </c:pt>
                <c:pt idx="5">
                  <c:v>0.67500000000000004</c:v>
                </c:pt>
                <c:pt idx="6">
                  <c:v>0.84299999999999997</c:v>
                </c:pt>
              </c:numCache>
            </c:numRef>
          </c:yVal>
          <c:bubbleSize>
            <c:numRef>
              <c:f>Sheet1!$C$2:$C$8</c:f>
              <c:numCache>
                <c:formatCode>General</c:formatCode>
                <c:ptCount val="7"/>
                <c:pt idx="0">
                  <c:v>41170923</c:v>
                </c:pt>
                <c:pt idx="1">
                  <c:v>18994862</c:v>
                </c:pt>
                <c:pt idx="2">
                  <c:v>10352210</c:v>
                </c:pt>
                <c:pt idx="3">
                  <c:v>9773403</c:v>
                </c:pt>
                <c:pt idx="4">
                  <c:v>8609624</c:v>
                </c:pt>
                <c:pt idx="5">
                  <c:v>3404692</c:v>
                </c:pt>
                <c:pt idx="6">
                  <c:v>2900981</c:v>
                </c:pt>
              </c:numCache>
            </c:numRef>
          </c:bubbleSize>
          <c:bubble3D val="0"/>
          <c:extLst>
            <c:ext xmlns:c15="http://schemas.microsoft.com/office/drawing/2012/chart" uri="{02D57815-91ED-43cb-92C2-25804820EDAC}">
              <c15:datalabelsRange>
                <c15:f>Sheet1!$E$2:$E$10</c15:f>
                <c15:dlblRangeCache>
                  <c:ptCount val="9"/>
                  <c:pt idx="0">
                    <c:v>L'Oreal</c:v>
                  </c:pt>
                  <c:pt idx="1">
                    <c:v>Isdin</c:v>
                  </c:pt>
                  <c:pt idx="2">
                    <c:v>Beiersdorf</c:v>
                  </c:pt>
                  <c:pt idx="3">
                    <c:v>Galderma</c:v>
                  </c:pt>
                  <c:pt idx="4">
                    <c:v>Pierre Fabre</c:v>
                  </c:pt>
                  <c:pt idx="5">
                    <c:v>Glaxosmithkline</c:v>
                  </c:pt>
                  <c:pt idx="6">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07"/>
          <c:min val="25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E996C01-2C16-4CC4-8F4D-8A40165A9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9CCE8F9-3715-40C4-BBF6-FEAFF2ED0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DCB654B-97FD-44C1-96AD-B38FF4681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50475CB-D573-4701-99AD-8F756B4CC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ABFBEB5-DE56-4341-8123-1A0DB724D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0EE2C46-7CEA-4DDD-B41A-714C930B60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9747448-6569-4E39-8CEA-3594C310A3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E39C3DE-459A-421B-A6FA-10C8BDAEE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14.44690000000003</c:v>
                </c:pt>
                <c:pt idx="1">
                  <c:v>287.61689999999999</c:v>
                </c:pt>
                <c:pt idx="2">
                  <c:v>624.47</c:v>
                </c:pt>
              </c:numCache>
            </c:numRef>
          </c:xVal>
          <c:yVal>
            <c:numRef>
              <c:f>Sheet1!$B$2:$B$4</c:f>
              <c:numCache>
                <c:formatCode>General</c:formatCode>
                <c:ptCount val="3"/>
                <c:pt idx="0">
                  <c:v>0.77100000000000002</c:v>
                </c:pt>
                <c:pt idx="1">
                  <c:v>1.331</c:v>
                </c:pt>
                <c:pt idx="2">
                  <c:v>1.23</c:v>
                </c:pt>
              </c:numCache>
            </c:numRef>
          </c:yVal>
          <c:bubbleSize>
            <c:numRef>
              <c:f>Sheet1!$C$2:$C$4</c:f>
              <c:numCache>
                <c:formatCode>General</c:formatCode>
                <c:ptCount val="3"/>
                <c:pt idx="0">
                  <c:v>6626810</c:v>
                </c:pt>
                <c:pt idx="1">
                  <c:v>4484235</c:v>
                </c:pt>
                <c:pt idx="2">
                  <c:v>4388775</c:v>
                </c:pt>
              </c:numCache>
            </c:numRef>
          </c:bubbleSize>
          <c:bubble3D val="0"/>
          <c:extLst>
            <c:ext xmlns:c15="http://schemas.microsoft.com/office/drawing/2012/chart" uri="{02D57815-91ED-43cb-92C2-25804820EDAC}">
              <c15:datalabelsRange>
                <c15:f>Sheet1!$E$2:$E$10</c15:f>
                <c15:dlblRangeCache>
                  <c:ptCount val="9"/>
                  <c:pt idx="0">
                    <c:v>Isdin</c:v>
                  </c:pt>
                  <c:pt idx="1">
                    <c:v>Glaxosmithkline</c:v>
                  </c:pt>
                  <c:pt idx="2">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9"/>
          <c:min val="2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4BB293-518A-42FB-A544-E80962C41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A39B1B-2E9B-440C-8F94-CE8F996FB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3D5D6CA-9956-4E7D-8F98-BF8402668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1D0F998-51BE-438C-A9FB-D9C78AEC0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26B998B-90E3-48CA-8446-E20FCAA9A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F0894FA-1060-4FDA-85EB-6E6952A7A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8D1E247-7306-41F1-A8CB-429B2F1F83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1D43E9C-F9EC-46D4-B711-6A33D9D87D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721.28530000000001</c:v>
                </c:pt>
                <c:pt idx="1">
                  <c:v>975.346</c:v>
                </c:pt>
                <c:pt idx="2">
                  <c:v>605.37639999999999</c:v>
                </c:pt>
              </c:numCache>
            </c:numRef>
          </c:xVal>
          <c:yVal>
            <c:numRef>
              <c:f>Sheet1!$B$2:$B$4</c:f>
              <c:numCache>
                <c:formatCode>General</c:formatCode>
                <c:ptCount val="3"/>
                <c:pt idx="0">
                  <c:v>0.90300000000000002</c:v>
                </c:pt>
                <c:pt idx="1">
                  <c:v>1.6779999999999999</c:v>
                </c:pt>
                <c:pt idx="2">
                  <c:v>1.673</c:v>
                </c:pt>
              </c:numCache>
            </c:numRef>
          </c:yVal>
          <c:bubbleSize>
            <c:numRef>
              <c:f>Sheet1!$C$2:$C$4</c:f>
              <c:numCache>
                <c:formatCode>General</c:formatCode>
                <c:ptCount val="3"/>
                <c:pt idx="0">
                  <c:v>24116173</c:v>
                </c:pt>
                <c:pt idx="1">
                  <c:v>4087675</c:v>
                </c:pt>
                <c:pt idx="2">
                  <c:v>2301641</c:v>
                </c:pt>
              </c:numCache>
            </c:numRef>
          </c:bubbleSize>
          <c:bubble3D val="0"/>
          <c:extLst>
            <c:ext xmlns:c15="http://schemas.microsoft.com/office/drawing/2012/chart" uri="{02D57815-91ED-43cb-92C2-25804820EDAC}">
              <c15:datalabelsRange>
                <c15:f>Sheet1!$E$2:$E$10</c15:f>
                <c15:dlblRangeCache>
                  <c:ptCount val="9"/>
                  <c:pt idx="0">
                    <c:v>Bioderma</c:v>
                  </c:pt>
                  <c:pt idx="1">
                    <c:v>L'Oreal</c:v>
                  </c:pt>
                  <c:pt idx="2">
                    <c:v>Genove Lab.</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70"/>
          <c:min val="48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0A75654-FC2D-4A45-92D9-A70AB3C6E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3F50C7D9-3FC0-4886-8542-2B84F2E67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104F6EF-CEBB-4D9A-8BE1-0C7B58E65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BDB8E33-FECD-45E4-8E2D-E0717262E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2D764B8-E273-4E1A-BB4B-AB018106C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D5B7758-D209-46BF-AD38-55B8253C9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4771ABC-B5F6-4E53-B460-4D2B26925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B9BE347-D598-4C8E-9912-5426BB66C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75.40699999999998</c:v>
                </c:pt>
              </c:numCache>
            </c:numRef>
          </c:xVal>
          <c:yVal>
            <c:numRef>
              <c:f>Sheet1!$B$2:$B$2</c:f>
              <c:numCache>
                <c:formatCode>General</c:formatCode>
                <c:ptCount val="1"/>
                <c:pt idx="0">
                  <c:v>0.998</c:v>
                </c:pt>
              </c:numCache>
            </c:numRef>
          </c:yVal>
          <c:bubbleSize>
            <c:numRef>
              <c:f>Sheet1!$C$2:$C$2</c:f>
              <c:numCache>
                <c:formatCode>General</c:formatCode>
                <c:ptCount val="1"/>
                <c:pt idx="0">
                  <c:v>36576861</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70"/>
          <c:min val="3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4F74F7-5288-492D-8AE0-3E088E003A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9B1153-A543-4514-914C-CDB6700875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C20A9C0-C87C-409C-B344-B368D0D271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C284C54-95FA-4F48-9694-82E74120A3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38DCA14-E38C-490A-97FE-EA95B3459B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11DD1DC-53AD-40F4-A3B9-E8EF47149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388A161-F188-4772-86CC-111AACCC2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433857D-37CA-4DA2-826E-4E5470240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54.5727</c:v>
                </c:pt>
                <c:pt idx="1">
                  <c:v>74.706999999999994</c:v>
                </c:pt>
              </c:numCache>
            </c:numRef>
          </c:xVal>
          <c:yVal>
            <c:numRef>
              <c:f>Sheet1!$B$2:$B$3</c:f>
              <c:numCache>
                <c:formatCode>General</c:formatCode>
                <c:ptCount val="2"/>
                <c:pt idx="0">
                  <c:v>1.2230000000000001</c:v>
                </c:pt>
                <c:pt idx="1">
                  <c:v>0.69299999999999995</c:v>
                </c:pt>
              </c:numCache>
            </c:numRef>
          </c:yVal>
          <c:bubbleSize>
            <c:numRef>
              <c:f>Sheet1!$C$2:$C$3</c:f>
              <c:numCache>
                <c:formatCode>General</c:formatCode>
                <c:ptCount val="2"/>
                <c:pt idx="0">
                  <c:v>53404764</c:v>
                </c:pt>
                <c:pt idx="1">
                  <c:v>20489591</c:v>
                </c:pt>
              </c:numCache>
            </c:numRef>
          </c:bubbleSize>
          <c:bubble3D val="0"/>
          <c:extLst>
            <c:ext xmlns:c15="http://schemas.microsoft.com/office/drawing/2012/chart" uri="{02D57815-91ED-43cb-92C2-25804820EDAC}">
              <c15:datalabelsRange>
                <c15:f>Sheet1!$E$2:$E$10</c15:f>
                <c15:dlblRangeCache>
                  <c:ptCount val="9"/>
                  <c:pt idx="0">
                    <c:v>Edgewell</c:v>
                  </c:pt>
                  <c:pt idx="1">
                    <c:v>Total Care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5"/>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6448DA8-313B-4862-A1E2-D2FD72074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DEE79A6B-5400-4960-8036-4A10EE38C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C2A32E5-EFD2-4A44-8F52-BDCE044533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7F45674-6A6E-44A5-8285-DBB6253D84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882BC7F-7674-487C-B396-BB7CE9322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8A4F866-3BED-4145-98F9-EC0CC6D116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A512E91-DF99-49AB-B2D6-1263D73AF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75D3CA0-1323-4CF6-AB6D-17B4C897A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7.90629999999999</c:v>
                </c:pt>
              </c:numCache>
            </c:numRef>
          </c:xVal>
          <c:yVal>
            <c:numRef>
              <c:f>Sheet1!$B$2:$B$2</c:f>
              <c:numCache>
                <c:formatCode>General</c:formatCode>
                <c:ptCount val="1"/>
                <c:pt idx="0">
                  <c:v>1</c:v>
                </c:pt>
              </c:numCache>
            </c:numRef>
          </c:yVal>
          <c:bubbleSize>
            <c:numRef>
              <c:f>Sheet1!$C$2:$C$2</c:f>
              <c:numCache>
                <c:formatCode>General</c:formatCode>
                <c:ptCount val="1"/>
                <c:pt idx="0">
                  <c:v>107489453</c:v>
                </c:pt>
              </c:numCache>
            </c:numRef>
          </c:bubbleSize>
          <c:bubble3D val="0"/>
          <c:extLst>
            <c:ext xmlns:c15="http://schemas.microsoft.com/office/drawing/2012/chart" uri="{02D57815-91ED-43cb-92C2-25804820EDAC}">
              <c15:datalabelsRange>
                <c15:f>Sheet1!$E$2:$E$10</c15:f>
                <c15:dlblRangeCache>
                  <c:ptCount val="9"/>
                  <c:pt idx="0">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1"/>
          <c:min val="17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02C57F-420B-4DC0-B072-E903CB878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AF60E8-BA89-4B6F-9B20-7ACBB4BA5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7CA266-5C88-484E-A7F1-6D05C6549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0BDB9F3-7BF9-4183-8F55-F2BEA7F80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BAE6CF3-599F-42C9-906F-DFB613CA1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28B929B-CDE0-4E05-9540-FE64FC5D64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E9803F9-39AE-4325-8DB3-5DD15820D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A3E059E-C993-4188-BD46-0DAD7647C9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57839999999999</c:v>
                </c:pt>
                <c:pt idx="1">
                  <c:v>623.33420000000001</c:v>
                </c:pt>
                <c:pt idx="2">
                  <c:v>744.73800000000006</c:v>
                </c:pt>
                <c:pt idx="3">
                  <c:v>675.7758</c:v>
                </c:pt>
                <c:pt idx="4">
                  <c:v>505.11149999999998</c:v>
                </c:pt>
                <c:pt idx="5">
                  <c:v>594.25900000000001</c:v>
                </c:pt>
                <c:pt idx="6">
                  <c:v>418.52390000000003</c:v>
                </c:pt>
                <c:pt idx="7">
                  <c:v>839.40419999999995</c:v>
                </c:pt>
              </c:numCache>
            </c:numRef>
          </c:xVal>
          <c:yVal>
            <c:numRef>
              <c:f>Sheet1!$B$2:$B$9</c:f>
              <c:numCache>
                <c:formatCode>General</c:formatCode>
                <c:ptCount val="8"/>
                <c:pt idx="0">
                  <c:v>1.2210000000000001</c:v>
                </c:pt>
                <c:pt idx="1">
                  <c:v>1.478</c:v>
                </c:pt>
                <c:pt idx="2">
                  <c:v>1.4079999999999999</c:v>
                </c:pt>
                <c:pt idx="3">
                  <c:v>0.78300000000000003</c:v>
                </c:pt>
                <c:pt idx="4">
                  <c:v>0.78900000000000003</c:v>
                </c:pt>
                <c:pt idx="5">
                  <c:v>0.47899999999999998</c:v>
                </c:pt>
                <c:pt idx="6">
                  <c:v>0.67500000000000004</c:v>
                </c:pt>
                <c:pt idx="7">
                  <c:v>0.84299999999999997</c:v>
                </c:pt>
              </c:numCache>
            </c:numRef>
          </c:yVal>
          <c:bubbleSize>
            <c:numRef>
              <c:f>Sheet1!$C$2:$C$9</c:f>
              <c:numCache>
                <c:formatCode>General</c:formatCode>
                <c:ptCount val="8"/>
                <c:pt idx="0">
                  <c:v>26871382</c:v>
                </c:pt>
                <c:pt idx="1">
                  <c:v>18994862</c:v>
                </c:pt>
                <c:pt idx="2">
                  <c:v>11537481</c:v>
                </c:pt>
                <c:pt idx="3">
                  <c:v>10352210</c:v>
                </c:pt>
                <c:pt idx="4">
                  <c:v>9773403</c:v>
                </c:pt>
                <c:pt idx="5">
                  <c:v>8609624</c:v>
                </c:pt>
                <c:pt idx="6">
                  <c:v>3404692</c:v>
                </c:pt>
                <c:pt idx="7">
                  <c:v>2900981</c:v>
                </c:pt>
              </c:numCache>
            </c:numRef>
          </c:bubbleSize>
          <c:bubble3D val="0"/>
          <c:extLst>
            <c:ext xmlns:c15="http://schemas.microsoft.com/office/drawing/2012/chart" uri="{02D57815-91ED-43cb-92C2-25804820EDAC}">
              <c15:datalabelsRange>
                <c15:f>Sheet1!$E$2:$E$10</c15:f>
                <c15:dlblRangeCache>
                  <c:ptCount val="9"/>
                  <c:pt idx="0">
                    <c:v>Loreal Paris</c:v>
                  </c:pt>
                  <c:pt idx="1">
                    <c:v>Isdin</c:v>
                  </c:pt>
                  <c:pt idx="2">
                    <c:v>La Roche-Posay</c:v>
                  </c:pt>
                  <c:pt idx="3">
                    <c:v>Eucerin</c:v>
                  </c:pt>
                  <c:pt idx="4">
                    <c:v>Cetaphil</c:v>
                  </c:pt>
                  <c:pt idx="5">
                    <c:v>Avene</c:v>
                  </c:pt>
                  <c:pt idx="6">
                    <c:v>Eclipsol</c:v>
                  </c:pt>
                  <c:pt idx="7">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07"/>
          <c:min val="19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E3E25C-D6B4-4758-B8A7-D115DC645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35CF559-FCCE-4114-8DCE-D9F690FF39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3C10EC1-1FE6-46A8-9103-490F0F302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FBFBE25-9DF1-4FB7-8A7A-B8A8ACC020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415041A-09F2-440D-8618-F6386C216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47C0735-02A1-440E-9ABC-69828D72A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70A6348-8D58-446C-AE85-BD27B9A04C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791005B-AFEF-48DC-B8ED-ECD4A169FA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90.02770000000001</c:v>
                </c:pt>
              </c:numCache>
            </c:numRef>
          </c:xVal>
          <c:yVal>
            <c:numRef>
              <c:f>Sheet1!$B$2:$B$2</c:f>
              <c:numCache>
                <c:formatCode>General</c:formatCode>
                <c:ptCount val="1"/>
                <c:pt idx="0">
                  <c:v>1.008</c:v>
                </c:pt>
              </c:numCache>
            </c:numRef>
          </c:yVal>
          <c:bubbleSize>
            <c:numRef>
              <c:f>Sheet1!$C$2:$C$2</c:f>
              <c:numCache>
                <c:formatCode>General</c:formatCode>
                <c:ptCount val="1"/>
                <c:pt idx="0">
                  <c:v>31788031</c:v>
                </c:pt>
              </c:numCache>
            </c:numRef>
          </c:bubbleSize>
          <c:bubble3D val="0"/>
          <c:extLst>
            <c:ext xmlns:c15="http://schemas.microsoft.com/office/drawing/2012/chart" uri="{02D57815-91ED-43cb-92C2-25804820EDAC}">
              <c15:datalabelsRange>
                <c15:f>Sheet1!$E$2:$E$10</c15:f>
                <c15:dlblRangeCache>
                  <c:ptCount val="9"/>
                  <c:pt idx="0">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8"/>
          <c:min val="15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F4FFFA0-EF73-4A5E-80EF-0656B8998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FC0294C6-7B81-40BE-9758-639CA47892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322924E-799A-4937-A106-0DE614383F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F2DFF8B-E16E-45E3-BF5C-80E4B5BDAC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7A35CA4-28B2-48D0-BCEC-49284F217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5986E19-A44E-41C4-9265-EF4F104BC9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3CEC8B8-AC6A-4B64-90FF-E1E073E102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DBB4379-1E32-42E5-856A-DA4812740B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7.893</c:v>
                </c:pt>
              </c:numCache>
            </c:numRef>
          </c:xVal>
          <c:yVal>
            <c:numRef>
              <c:f>Sheet1!$B$2:$B$2</c:f>
              <c:numCache>
                <c:formatCode>General</c:formatCode>
                <c:ptCount val="1"/>
                <c:pt idx="0">
                  <c:v>1</c:v>
                </c:pt>
              </c:numCache>
            </c:numRef>
          </c:yVal>
          <c:bubbleSize>
            <c:numRef>
              <c:f>Sheet1!$C$2:$C$2</c:f>
              <c:numCache>
                <c:formatCode>General</c:formatCode>
                <c:ptCount val="1"/>
                <c:pt idx="0">
                  <c:v>1674786</c:v>
                </c:pt>
              </c:numCache>
            </c:numRef>
          </c:bubbleSize>
          <c:bubble3D val="0"/>
          <c:extLst>
            <c:ext xmlns:c15="http://schemas.microsoft.com/office/drawing/2012/chart" uri="{02D57815-91ED-43cb-92C2-25804820EDAC}">
              <c15:datalabelsRange>
                <c15:f>Sheet1!$E$2:$E$10</c15:f>
                <c15:dlblRangeCache>
                  <c:ptCount val="9"/>
                  <c:pt idx="0">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9"/>
          <c:min val="16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9EA720-6383-4470-BF38-013533F4A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83A9E94-40B8-4FEF-BCE2-4F5A423A3F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DA3AC05-D4E1-4B4C-983C-7E2C4ABD8B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C785AEE-58DF-457F-8DC7-78037FEC8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8EB7039-8F61-4C2B-80CE-D413DCF67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CB91308-B649-49B2-B5FD-33337F9698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B1FC04A-1B8F-409B-A7AC-6896D60E23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6E839F6-C321-4A1C-B84C-52021E7EF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08.25069999999999</c:v>
                </c:pt>
                <c:pt idx="1">
                  <c:v>390.87819999999999</c:v>
                </c:pt>
                <c:pt idx="2">
                  <c:v>316.08710000000002</c:v>
                </c:pt>
              </c:numCache>
            </c:numRef>
          </c:xVal>
          <c:yVal>
            <c:numRef>
              <c:f>Sheet1!$B$2:$B$4</c:f>
              <c:numCache>
                <c:formatCode>General</c:formatCode>
                <c:ptCount val="3"/>
                <c:pt idx="0">
                  <c:v>0.61299999999999999</c:v>
                </c:pt>
                <c:pt idx="1">
                  <c:v>2.3250000000000002</c:v>
                </c:pt>
                <c:pt idx="2">
                  <c:v>2.12</c:v>
                </c:pt>
              </c:numCache>
            </c:numRef>
          </c:yVal>
          <c:bubbleSize>
            <c:numRef>
              <c:f>Sheet1!$C$2:$C$4</c:f>
              <c:numCache>
                <c:formatCode>General</c:formatCode>
                <c:ptCount val="3"/>
                <c:pt idx="0">
                  <c:v>792602</c:v>
                </c:pt>
                <c:pt idx="1">
                  <c:v>599998</c:v>
                </c:pt>
                <c:pt idx="2">
                  <c:v>319248</c:v>
                </c:pt>
              </c:numCache>
            </c:numRef>
          </c:bubbleSize>
          <c:bubble3D val="0"/>
          <c:extLst>
            <c:ext xmlns:c15="http://schemas.microsoft.com/office/drawing/2012/chart" uri="{02D57815-91ED-43cb-92C2-25804820EDAC}">
              <c15:datalabelsRange>
                <c15:f>Sheet1!$E$2:$E$10</c15:f>
                <c15:dlblRangeCache>
                  <c:ptCount val="9"/>
                  <c:pt idx="0">
                    <c:v>Edgewell</c:v>
                  </c:pt>
                  <c:pt idx="1">
                    <c:v>Australian Gold</c:v>
                  </c:pt>
                  <c:pt idx="2">
                    <c:v>Sun &amp; Skin Care Resear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9"/>
          <c:min val="1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A244DB-E49D-466D-B178-49C24DDEF0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F1C6C90-F90A-4193-8C00-D320812A6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4C5502B-5662-4701-9FF3-D091A1563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58A912C-9C76-4E16-A634-07B5C3F416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96E3D9A-68B5-4F57-90FC-3B62A688D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1A3BEB8-815E-426F-8BFD-0F838B579C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DDA48B3-865B-44B9-A077-9EFF18027C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682F020-9E3C-4E4B-86F9-C37493BE9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50.43579999999997</c:v>
                </c:pt>
              </c:numCache>
            </c:numRef>
          </c:xVal>
          <c:yVal>
            <c:numRef>
              <c:f>Sheet1!$B$2:$B$2</c:f>
              <c:numCache>
                <c:formatCode>General</c:formatCode>
                <c:ptCount val="1"/>
                <c:pt idx="0">
                  <c:v>1</c:v>
                </c:pt>
              </c:numCache>
            </c:numRef>
          </c:yVal>
          <c:bubbleSize>
            <c:numRef>
              <c:f>Sheet1!$C$2:$C$2</c:f>
              <c:numCache>
                <c:formatCode>General</c:formatCode>
                <c:ptCount val="1"/>
                <c:pt idx="0">
                  <c:v>12639657</c:v>
                </c:pt>
              </c:numCache>
            </c:numRef>
          </c:bubbleSize>
          <c:bubble3D val="0"/>
          <c:extLst>
            <c:ext xmlns:c15="http://schemas.microsoft.com/office/drawing/2012/chart" uri="{02D57815-91ED-43cb-92C2-25804820EDAC}">
              <c15:datalabelsRange>
                <c15:f>Sheet1!$E$2:$E$10</c15:f>
                <c15:dlblRangeCache>
                  <c:ptCount val="9"/>
                  <c:pt idx="0">
                    <c:v>If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1"/>
          <c:min val="4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7F8D53-018D-4F19-86C7-44BD08948E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3D8C38-4594-4461-A681-CF346689AF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7B15134-110E-412B-942F-F31A758BF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0F78BCA-12DC-45F4-AE59-191132C39E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06922BC-4C22-4E95-9D2C-A540869EA2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416E8B7-0588-4E85-AD5D-D396A889F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0A5804A-9F6A-4490-B15C-0F5D4BDB6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6D04B26-4F1D-49E2-8B30-6C27C084E7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57.71620000000001</c:v>
                </c:pt>
                <c:pt idx="1">
                  <c:v>245.40350000000001</c:v>
                </c:pt>
                <c:pt idx="2">
                  <c:v>84.552300000000002</c:v>
                </c:pt>
                <c:pt idx="3">
                  <c:v>77.248999999999995</c:v>
                </c:pt>
                <c:pt idx="4">
                  <c:v>188.10210000000001</c:v>
                </c:pt>
              </c:numCache>
            </c:numRef>
          </c:xVal>
          <c:yVal>
            <c:numRef>
              <c:f>Sheet1!$B$2:$B$6</c:f>
              <c:numCache>
                <c:formatCode>General</c:formatCode>
                <c:ptCount val="5"/>
                <c:pt idx="0">
                  <c:v>1.82</c:v>
                </c:pt>
                <c:pt idx="1">
                  <c:v>0.82599999999999996</c:v>
                </c:pt>
                <c:pt idx="2">
                  <c:v>0.47799999999999998</c:v>
                </c:pt>
                <c:pt idx="3">
                  <c:v>0.45200000000000001</c:v>
                </c:pt>
                <c:pt idx="4">
                  <c:v>3.4319999999999999</c:v>
                </c:pt>
              </c:numCache>
            </c:numRef>
          </c:yVal>
          <c:bubbleSize>
            <c:numRef>
              <c:f>Sheet1!$C$2:$C$6</c:f>
              <c:numCache>
                <c:formatCode>General</c:formatCode>
                <c:ptCount val="5"/>
                <c:pt idx="0">
                  <c:v>293211158</c:v>
                </c:pt>
                <c:pt idx="1">
                  <c:v>139524662</c:v>
                </c:pt>
                <c:pt idx="2">
                  <c:v>56361871</c:v>
                </c:pt>
                <c:pt idx="3">
                  <c:v>37642351</c:v>
                </c:pt>
                <c:pt idx="4">
                  <c:v>27380143</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Total Care De Mexico</c:v>
                  </c:pt>
                  <c:pt idx="3">
                    <c:v>Inds.Lavin De Mexico</c:v>
                  </c:pt>
                  <c:pt idx="4">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9"/>
          <c:min val="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6F336E-9EA5-40B6-AEAC-E4C61AA196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CFBF97-46BC-445B-BA3B-4E6F6EB71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D70609E-90CD-43EC-A00D-10A1E2C0D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C3F2948-2E1C-4323-BB54-4642FB327E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615A27D-8B30-4903-910B-A3AC9A96A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7AF6D29-28C4-4607-B93E-48F610C707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CD2132F-DFEF-445A-8FD9-BA06F99C2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18C0DFA-FDC5-421D-B0C9-59923715A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62.49939999999998</c:v>
                </c:pt>
                <c:pt idx="1">
                  <c:v>272.35610000000003</c:v>
                </c:pt>
              </c:numCache>
            </c:numRef>
          </c:xVal>
          <c:yVal>
            <c:numRef>
              <c:f>Sheet1!$B$2:$B$3</c:f>
              <c:numCache>
                <c:formatCode>General</c:formatCode>
                <c:ptCount val="2"/>
                <c:pt idx="0">
                  <c:v>1.004</c:v>
                </c:pt>
                <c:pt idx="1">
                  <c:v>0.88200000000000001</c:v>
                </c:pt>
              </c:numCache>
            </c:numRef>
          </c:yVal>
          <c:bubbleSize>
            <c:numRef>
              <c:f>Sheet1!$C$2:$C$3</c:f>
              <c:numCache>
                <c:formatCode>General</c:formatCode>
                <c:ptCount val="2"/>
                <c:pt idx="0">
                  <c:v>16499925</c:v>
                </c:pt>
                <c:pt idx="1">
                  <c:v>714390</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7"/>
          <c:min val="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C0E6874-2782-44A9-AD98-01FCD9CAD4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D08E81E1-7AC7-42CF-BC19-537BEAA4E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5BBB5DF-0530-4208-A55F-C4A7844AB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4E9418E-43DD-441E-8F0A-5374D34AE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4898E03-55F6-48F7-A265-7F303B4F64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1F53725-ABDB-4B21-BAEC-E3264B0FF7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A8B12B4-BF4A-4289-B01B-4DFC2FE96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2A16267-5816-4351-8085-6CA9AA7595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74.19709999999998</c:v>
                </c:pt>
              </c:numCache>
            </c:numRef>
          </c:xVal>
          <c:yVal>
            <c:numRef>
              <c:f>Sheet1!$B$2:$B$2</c:f>
              <c:numCache>
                <c:formatCode>General</c:formatCode>
                <c:ptCount val="1"/>
                <c:pt idx="0">
                  <c:v>0.996</c:v>
                </c:pt>
              </c:numCache>
            </c:numRef>
          </c:yVal>
          <c:bubbleSize>
            <c:numRef>
              <c:f>Sheet1!$C$2:$C$2</c:f>
              <c:numCache>
                <c:formatCode>General</c:formatCode>
                <c:ptCount val="1"/>
                <c:pt idx="0">
                  <c:v>121560916</c:v>
                </c:pt>
              </c:numCache>
            </c:numRef>
          </c:bubbleSize>
          <c:bubble3D val="0"/>
          <c:extLst>
            <c:ext xmlns:c15="http://schemas.microsoft.com/office/drawing/2012/chart" uri="{02D57815-91ED-43cb-92C2-25804820EDAC}">
              <c15:datalabelsRange>
                <c15:f>Sheet1!$E$2:$E$10</c15:f>
                <c15:dlblRangeCache>
                  <c:ptCount val="9"/>
                  <c:pt idx="0">
                    <c:v>Beiersdorf</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2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22C375-746E-4551-A259-05FB20F63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D311DFA-BD33-403C-991D-ED08FCFFD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6737CA3-2D4C-4E69-BFEA-82F51D5567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BB11B41-09C3-49ED-A156-0E58ABE9E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87295F1-F1EF-4658-8656-37865F0EF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284B4F6-3978-41C1-B885-8B00A0AB9B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42AF1A3-905B-4B12-9B57-28FAD6E0A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13CE980-0C66-4E13-8158-6728D3A648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39.16470000000001</c:v>
                </c:pt>
                <c:pt idx="1">
                  <c:v>197.36490000000001</c:v>
                </c:pt>
              </c:numCache>
            </c:numRef>
          </c:xVal>
          <c:yVal>
            <c:numRef>
              <c:f>Sheet1!$B$2:$B$3</c:f>
              <c:numCache>
                <c:formatCode>General</c:formatCode>
                <c:ptCount val="2"/>
                <c:pt idx="0">
                  <c:v>0.97799999999999998</c:v>
                </c:pt>
                <c:pt idx="1">
                  <c:v>0.93400000000000005</c:v>
                </c:pt>
              </c:numCache>
            </c:numRef>
          </c:yVal>
          <c:bubbleSize>
            <c:numRef>
              <c:f>Sheet1!$C$2:$C$3</c:f>
              <c:numCache>
                <c:formatCode>General</c:formatCode>
                <c:ptCount val="2"/>
                <c:pt idx="0">
                  <c:v>281719220</c:v>
                </c:pt>
                <c:pt idx="1">
                  <c:v>245940214</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7"/>
          <c:min val="15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6EFE7E-DE5C-4EC7-A44A-D6EA1AE5B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A51413-0DD5-4806-ADA4-CE6AECC0F4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9A68734-1560-4D01-8F59-2DC9C6C36A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07D31C8-2DAC-4129-8D5A-953694550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FD389BA-F8B3-4330-AC3C-C129CB3BF0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BA71237-0932-4CD7-9EAA-7B3D969AEB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8ACB754-CFEC-43DB-B5FE-FFBB4260AD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D60ACA7-6935-4DEE-91BB-9318C9E8F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64.9982</c:v>
                </c:pt>
                <c:pt idx="1">
                  <c:v>417.04509999999999</c:v>
                </c:pt>
                <c:pt idx="2">
                  <c:v>213.762</c:v>
                </c:pt>
              </c:numCache>
            </c:numRef>
          </c:xVal>
          <c:yVal>
            <c:numRef>
              <c:f>Sheet1!$B$2:$B$4</c:f>
              <c:numCache>
                <c:formatCode>General</c:formatCode>
                <c:ptCount val="3"/>
                <c:pt idx="0">
                  <c:v>0.96</c:v>
                </c:pt>
                <c:pt idx="1">
                  <c:v>5.7969999999999997</c:v>
                </c:pt>
                <c:pt idx="2">
                  <c:v>1.024</c:v>
                </c:pt>
              </c:numCache>
            </c:numRef>
          </c:yVal>
          <c:bubbleSize>
            <c:numRef>
              <c:f>Sheet1!$C$2:$C$4</c:f>
              <c:numCache>
                <c:formatCode>General</c:formatCode>
                <c:ptCount val="3"/>
                <c:pt idx="0">
                  <c:v>61261761</c:v>
                </c:pt>
                <c:pt idx="1">
                  <c:v>2959352</c:v>
                </c:pt>
                <c:pt idx="2">
                  <c:v>2052543</c:v>
                </c:pt>
              </c:numCache>
            </c:numRef>
          </c:bubbleSize>
          <c:bubble3D val="0"/>
          <c:extLst>
            <c:ext xmlns:c15="http://schemas.microsoft.com/office/drawing/2012/chart" uri="{02D57815-91ED-43cb-92C2-25804820EDAC}">
              <c15:datalabelsRange>
                <c15:f>Sheet1!$E$2:$E$10</c15:f>
                <c15:dlblRangeCache>
                  <c:ptCount val="9"/>
                  <c:pt idx="0">
                    <c:v>Edgewell</c:v>
                  </c:pt>
                  <c:pt idx="1">
                    <c:v>Labs. Expanscience</c:v>
                  </c:pt>
                  <c:pt idx="2">
                    <c:v>Sun &amp; Skin Care Resear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00"/>
          <c:min val="17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9C7A27-573F-47AD-8A36-65284E0A9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6459BE9-D741-4320-BB7D-C0D149E25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3FA5B8C-1800-402B-B4EE-0E8BE9D1A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3009360-C03A-469B-AC94-940CBE7B9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428F96C-2675-4B93-8879-D25661E82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BA7EF95-72FC-4B6D-B714-8ECEFF9CFA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74B3F50-72A3-4C2B-9902-71520BA830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AFF4D11-ED22-4A7C-9792-255F2AB61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5.0504</c:v>
                </c:pt>
              </c:numCache>
            </c:numRef>
          </c:xVal>
          <c:yVal>
            <c:numRef>
              <c:f>Sheet1!$B$2:$B$2</c:f>
              <c:numCache>
                <c:formatCode>General</c:formatCode>
                <c:ptCount val="1"/>
                <c:pt idx="0">
                  <c:v>1</c:v>
                </c:pt>
              </c:numCache>
            </c:numRef>
          </c:yVal>
          <c:bubbleSize>
            <c:numRef>
              <c:f>Sheet1!$C$2:$C$2</c:f>
              <c:numCache>
                <c:formatCode>General</c:formatCode>
                <c:ptCount val="1"/>
                <c:pt idx="0">
                  <c:v>1562689</c:v>
                </c:pt>
              </c:numCache>
            </c:numRef>
          </c:bubbleSize>
          <c:bubble3D val="0"/>
          <c:extLst>
            <c:ext xmlns:c15="http://schemas.microsoft.com/office/drawing/2012/chart" uri="{02D57815-91ED-43cb-92C2-25804820EDAC}">
              <c15:datalabelsRange>
                <c15:f>Sheet1!$E$2:$E$10</c15:f>
                <c15:dlblRangeCache>
                  <c:ptCount val="9"/>
                  <c:pt idx="0">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6"/>
          <c:min val="1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D0F6F3E-629F-48F2-83A2-89489173A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0685CC7-A20C-412C-91BD-57CD83684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1B8D4B97-0A35-4258-8D88-DF06EFAC5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B66BD47A-D2BB-452A-A6AC-F52FC409C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6696D3FF-70E2-490A-B830-6EA6F5056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3B3B62AE-159F-4605-B004-808F9F30B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2CA6B6BC-6CD4-4330-A833-99A8618AFE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F576AF09-C55F-4991-A4B4-334AD1F717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14.44690000000003</c:v>
                </c:pt>
                <c:pt idx="1">
                  <c:v>287.61689999999999</c:v>
                </c:pt>
                <c:pt idx="2">
                  <c:v>624.47</c:v>
                </c:pt>
              </c:numCache>
            </c:numRef>
          </c:xVal>
          <c:yVal>
            <c:numRef>
              <c:f>Sheet1!$B$2:$B$4</c:f>
              <c:numCache>
                <c:formatCode>General</c:formatCode>
                <c:ptCount val="3"/>
                <c:pt idx="0">
                  <c:v>0.77100000000000002</c:v>
                </c:pt>
                <c:pt idx="1">
                  <c:v>1.331</c:v>
                </c:pt>
                <c:pt idx="2">
                  <c:v>1.23</c:v>
                </c:pt>
              </c:numCache>
            </c:numRef>
          </c:yVal>
          <c:bubbleSize>
            <c:numRef>
              <c:f>Sheet1!$C$2:$C$4</c:f>
              <c:numCache>
                <c:formatCode>General</c:formatCode>
                <c:ptCount val="3"/>
                <c:pt idx="0">
                  <c:v>6626810</c:v>
                </c:pt>
                <c:pt idx="1">
                  <c:v>4484235</c:v>
                </c:pt>
                <c:pt idx="2">
                  <c:v>4388775</c:v>
                </c:pt>
              </c:numCache>
            </c:numRef>
          </c:bubbleSize>
          <c:bubble3D val="0"/>
          <c:extLst>
            <c:ext xmlns:c15="http://schemas.microsoft.com/office/drawing/2012/chart" uri="{02D57815-91ED-43cb-92C2-25804820EDAC}">
              <c15:datalabelsRange>
                <c15:f>Sheet1!$E$2:$E$10</c15:f>
                <c15:dlblRangeCache>
                  <c:ptCount val="9"/>
                  <c:pt idx="0">
                    <c:v>Isdin</c:v>
                  </c:pt>
                  <c:pt idx="1">
                    <c:v>Eclipsol</c:v>
                  </c:pt>
                  <c:pt idx="2">
                    <c:v>La Roche-Posa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9"/>
          <c:min val="2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FA63B0C-0D7A-4193-AF1C-6DCB6E75FD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E9E3E6B4-FFC5-41AF-8B98-CC82CA293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857BB5C-F00C-4D8D-B22B-C25497653F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DD79AAE-9974-4559-A41A-8E04BF9DA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81273D7-2753-49C6-84EA-199D3D349C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9761398-807C-4537-90CC-541521D942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7AE5A8A-BB3B-4DFF-A961-1A4ACF36E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371E15F-B831-4D22-8444-763E8CE48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4.5033</c:v>
                </c:pt>
              </c:numCache>
            </c:numRef>
          </c:xVal>
          <c:yVal>
            <c:numRef>
              <c:f>Sheet1!$B$2:$B$2</c:f>
              <c:numCache>
                <c:formatCode>General</c:formatCode>
                <c:ptCount val="1"/>
                <c:pt idx="0">
                  <c:v>0.92800000000000005</c:v>
                </c:pt>
              </c:numCache>
            </c:numRef>
          </c:yVal>
          <c:bubbleSize>
            <c:numRef>
              <c:f>Sheet1!$C$2:$C$2</c:f>
              <c:numCache>
                <c:formatCode>General</c:formatCode>
                <c:ptCount val="1"/>
                <c:pt idx="0">
                  <c:v>13053599</c:v>
                </c:pt>
              </c:numCache>
            </c:numRef>
          </c:bubbleSize>
          <c:bubble3D val="0"/>
          <c:extLst>
            <c:ext xmlns:c15="http://schemas.microsoft.com/office/drawing/2012/chart" uri="{02D57815-91ED-43cb-92C2-25804820EDAC}">
              <c15:datalabelsRange>
                <c15:f>Sheet1!$E$2:$E$10</c15:f>
                <c15:dlblRangeCache>
                  <c:ptCount val="9"/>
                  <c:pt idx="0">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7"/>
          <c:min val="17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B23FB9-ED26-4219-9981-2831B5779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682499-AB01-4AF6-A9D0-2E5B8A44A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0238FFA-74CE-4CA8-886D-332B5EF36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DDFD73E-71CA-41EF-899A-85BACA2B9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15DD0AD-9103-447D-80EF-E863A2DB7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AC5BDF6-4892-4AF9-BEE5-3A67B99E5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B589B88-2E6F-4690-B1BA-1BE0D7022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95BA9D0-E14E-4F00-AED7-75F2EC65A3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73.11759999999998</c:v>
                </c:pt>
                <c:pt idx="1">
                  <c:v>351.66789999999997</c:v>
                </c:pt>
                <c:pt idx="2">
                  <c:v>322.3177</c:v>
                </c:pt>
                <c:pt idx="3">
                  <c:v>410.1413</c:v>
                </c:pt>
              </c:numCache>
            </c:numRef>
          </c:xVal>
          <c:yVal>
            <c:numRef>
              <c:f>Sheet1!$B$2:$B$5</c:f>
              <c:numCache>
                <c:formatCode>General</c:formatCode>
                <c:ptCount val="4"/>
                <c:pt idx="0">
                  <c:v>0.55500000000000005</c:v>
                </c:pt>
                <c:pt idx="1">
                  <c:v>1.9970000000000001</c:v>
                </c:pt>
                <c:pt idx="2">
                  <c:v>2.2029999999999998</c:v>
                </c:pt>
                <c:pt idx="3">
                  <c:v>2.89</c:v>
                </c:pt>
              </c:numCache>
            </c:numRef>
          </c:yVal>
          <c:bubbleSize>
            <c:numRef>
              <c:f>Sheet1!$C$2:$C$5</c:f>
              <c:numCache>
                <c:formatCode>General</c:formatCode>
                <c:ptCount val="4"/>
                <c:pt idx="0">
                  <c:v>2219627</c:v>
                </c:pt>
                <c:pt idx="1">
                  <c:v>2139196</c:v>
                </c:pt>
                <c:pt idx="2">
                  <c:v>871547</c:v>
                </c:pt>
                <c:pt idx="3">
                  <c:v>191536</c:v>
                </c:pt>
              </c:numCache>
            </c:numRef>
          </c:bubbleSize>
          <c:bubble3D val="0"/>
          <c:extLst>
            <c:ext xmlns:c15="http://schemas.microsoft.com/office/drawing/2012/chart" uri="{02D57815-91ED-43cb-92C2-25804820EDAC}">
              <c15:datalabelsRange>
                <c15:f>Sheet1!$E$2:$E$10</c15:f>
                <c15:dlblRangeCache>
                  <c:ptCount val="9"/>
                  <c:pt idx="0">
                    <c:v>Edgewell</c:v>
                  </c:pt>
                  <c:pt idx="1">
                    <c:v>Australian Gold</c:v>
                  </c:pt>
                  <c:pt idx="2">
                    <c:v>Sun &amp; Skin Care Research</c:v>
                  </c:pt>
                  <c:pt idx="3">
                    <c:v>Labs. Expanscie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2"/>
          <c:min val="2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823FBE9-D3BE-4284-B3DC-DB465CC13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D5A8819-560E-4D0E-ABD0-DA6376BC9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B2563C0-0B7A-471F-A994-EDE8EF981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77DC29C-C9D9-4C01-BB7F-0782A396CD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F0610F2-2A79-4709-B47E-FA2221B80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3C96475-035C-454C-8FE2-6E6420F8D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9F26D7B-CEC0-42B0-8EB7-23E46FDD4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CD98BFB-B997-46FF-9705-489C321F1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51.44110000000001</c:v>
                </c:pt>
              </c:numCache>
            </c:numRef>
          </c:xVal>
          <c:yVal>
            <c:numRef>
              <c:f>Sheet1!$B$2:$B$2</c:f>
              <c:numCache>
                <c:formatCode>General</c:formatCode>
                <c:ptCount val="1"/>
                <c:pt idx="0">
                  <c:v>0.38600000000000001</c:v>
                </c:pt>
              </c:numCache>
            </c:numRef>
          </c:yVal>
          <c:bubbleSize>
            <c:numRef>
              <c:f>Sheet1!$C$2:$C$2</c:f>
              <c:numCache>
                <c:formatCode>General</c:formatCode>
                <c:ptCount val="1"/>
                <c:pt idx="0">
                  <c:v>2155740</c:v>
                </c:pt>
              </c:numCache>
            </c:numRef>
          </c:bubbleSize>
          <c:bubble3D val="0"/>
          <c:extLst>
            <c:ext xmlns:c15="http://schemas.microsoft.com/office/drawing/2012/chart" uri="{02D57815-91ED-43cb-92C2-25804820EDAC}">
              <c15:datalabelsRange>
                <c15:f>Sheet1!$E$2:$E$10</c15:f>
                <c15:dlblRangeCache>
                  <c:ptCount val="9"/>
                  <c:pt idx="0">
                    <c:v>J&amp;J</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2"/>
          <c:min val="28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986E798-277B-4F57-8F6B-AB14DDCF4B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BAFA01-CA9C-4FA5-9F9F-DED2EACA7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252BC7D-DE1E-4BB7-A3FB-CC86E7BE5D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BA1F84F-0B49-4959-9041-7F97081DC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9D2FBB3-36FF-4296-9E2B-FE2054B526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1D297E6-1FD6-46BF-B907-3ED06979D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B5A2C66-C34F-4DE8-890B-4396D9471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AB8DB01-C9E2-439F-A637-D0D73E20D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572.85310000000004</c:v>
                </c:pt>
                <c:pt idx="1">
                  <c:v>637.73310000000004</c:v>
                </c:pt>
                <c:pt idx="2">
                  <c:v>704.71749999999997</c:v>
                </c:pt>
              </c:numCache>
            </c:numRef>
          </c:xVal>
          <c:yVal>
            <c:numRef>
              <c:f>Sheet1!$B$2:$B$4</c:f>
              <c:numCache>
                <c:formatCode>General</c:formatCode>
                <c:ptCount val="3"/>
                <c:pt idx="0">
                  <c:v>1.675</c:v>
                </c:pt>
                <c:pt idx="1">
                  <c:v>0.78500000000000003</c:v>
                </c:pt>
                <c:pt idx="2">
                  <c:v>0.86599999999999999</c:v>
                </c:pt>
              </c:numCache>
            </c:numRef>
          </c:yVal>
          <c:bubbleSize>
            <c:numRef>
              <c:f>Sheet1!$C$2:$C$4</c:f>
              <c:numCache>
                <c:formatCode>General</c:formatCode>
                <c:ptCount val="3"/>
                <c:pt idx="0">
                  <c:v>31795641</c:v>
                </c:pt>
                <c:pt idx="1">
                  <c:v>29178838</c:v>
                </c:pt>
                <c:pt idx="2">
                  <c:v>3737117</c:v>
                </c:pt>
              </c:numCache>
            </c:numRef>
          </c:bubbleSize>
          <c:bubble3D val="0"/>
          <c:extLst>
            <c:ext xmlns:c15="http://schemas.microsoft.com/office/drawing/2012/chart" uri="{02D57815-91ED-43cb-92C2-25804820EDAC}">
              <c15:datalabelsRange>
                <c15:f>Sheet1!$E$2:$E$10</c15:f>
                <c15:dlblRangeCache>
                  <c:ptCount val="9"/>
                  <c:pt idx="0">
                    <c:v>L'Oreal</c:v>
                  </c:pt>
                  <c:pt idx="1">
                    <c:v>Isdin</c:v>
                  </c:pt>
                  <c:pt idx="2">
                    <c:v>If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6"/>
          <c:min val="45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B287A5B-4E61-4331-AEC6-41BFD5CD1E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3ACAA0-EE4C-4584-ABB2-119677349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1F37FF-2FA4-452E-BE7A-9090C7A296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0387453-4B23-4FFE-B2FD-C2E24D40E0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0820BF-C88C-4F9D-8704-74771BE84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AED5458-367D-4F59-8848-FD4B13ABD0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CB8F37E-FF7C-4E89-936C-FFE0D77401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A16750C-6FF0-4111-A12E-B3218AC61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18.10490000000004</c:v>
                </c:pt>
                <c:pt idx="1">
                  <c:v>301.66059999999999</c:v>
                </c:pt>
                <c:pt idx="2">
                  <c:v>700.57600000000002</c:v>
                </c:pt>
                <c:pt idx="3">
                  <c:v>659.19629999999995</c:v>
                </c:pt>
                <c:pt idx="4">
                  <c:v>703.88639999999998</c:v>
                </c:pt>
                <c:pt idx="5">
                  <c:v>726.53290000000004</c:v>
                </c:pt>
                <c:pt idx="6">
                  <c:v>628.62009999999998</c:v>
                </c:pt>
                <c:pt idx="7">
                  <c:v>346.98590000000002</c:v>
                </c:pt>
              </c:numCache>
            </c:numRef>
          </c:xVal>
          <c:yVal>
            <c:numRef>
              <c:f>Sheet1!$B$2:$B$9</c:f>
              <c:numCache>
                <c:formatCode>General</c:formatCode>
                <c:ptCount val="8"/>
                <c:pt idx="0">
                  <c:v>1.88</c:v>
                </c:pt>
                <c:pt idx="1">
                  <c:v>0.5</c:v>
                </c:pt>
                <c:pt idx="2">
                  <c:v>1.2809999999999999</c:v>
                </c:pt>
                <c:pt idx="3">
                  <c:v>1.0740000000000001</c:v>
                </c:pt>
                <c:pt idx="4">
                  <c:v>1.2490000000000001</c:v>
                </c:pt>
                <c:pt idx="5">
                  <c:v>3.5819999999999999</c:v>
                </c:pt>
                <c:pt idx="6">
                  <c:v>1.9550000000000001</c:v>
                </c:pt>
                <c:pt idx="7">
                  <c:v>0.61899999999999999</c:v>
                </c:pt>
              </c:numCache>
            </c:numRef>
          </c:yVal>
          <c:bubbleSize>
            <c:numRef>
              <c:f>Sheet1!$C$2:$C$9</c:f>
              <c:numCache>
                <c:formatCode>General</c:formatCode>
                <c:ptCount val="8"/>
                <c:pt idx="0">
                  <c:v>293910122</c:v>
                </c:pt>
                <c:pt idx="1">
                  <c:v>158153722</c:v>
                </c:pt>
                <c:pt idx="2">
                  <c:v>141125423</c:v>
                </c:pt>
                <c:pt idx="3">
                  <c:v>134451648</c:v>
                </c:pt>
                <c:pt idx="4">
                  <c:v>93898444</c:v>
                </c:pt>
                <c:pt idx="5">
                  <c:v>46613626</c:v>
                </c:pt>
                <c:pt idx="6">
                  <c:v>45192131</c:v>
                </c:pt>
                <c:pt idx="7">
                  <c:v>24712335</c:v>
                </c:pt>
              </c:numCache>
            </c:numRef>
          </c:bubbleSize>
          <c:bubble3D val="0"/>
          <c:extLst>
            <c:ext xmlns:c15="http://schemas.microsoft.com/office/drawing/2012/chart" uri="{02D57815-91ED-43cb-92C2-25804820EDAC}">
              <c15:datalabelsRange>
                <c15:f>Sheet1!$E$2:$E$10</c15:f>
                <c15:dlblRangeCache>
                  <c:ptCount val="9"/>
                  <c:pt idx="0">
                    <c:v>Isdin</c:v>
                  </c:pt>
                  <c:pt idx="1">
                    <c:v>J&amp;J</c:v>
                  </c:pt>
                  <c:pt idx="2">
                    <c:v>L'Oreal</c:v>
                  </c:pt>
                  <c:pt idx="3">
                    <c:v>Pierre Fabre</c:v>
                  </c:pt>
                  <c:pt idx="4">
                    <c:v>Beiersdorf</c:v>
                  </c:pt>
                  <c:pt idx="5">
                    <c:v>Bioderma</c:v>
                  </c:pt>
                  <c:pt idx="6">
                    <c:v>Ifc</c:v>
                  </c:pt>
                  <c:pt idx="7">
                    <c:v>Glaxosmithkli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2"/>
          <c:min val="24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BBF4E1-494A-436C-97E0-B0D7C50E9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74BBC62-6F1E-4BE2-AF94-D82E13CED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60DFF68-19DE-4A70-AC50-A0BBE7A0A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E137B0-2DFF-430C-AD03-02C47E976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2D5D279-0EA7-49F7-8CA8-C4A8C117DA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377038-728D-4BD4-ACCD-26D5A421F2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4DD7987-B7DA-48B1-ACE9-5F87123A20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D86B502-34CF-4C32-A747-8ED8477974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18.98260000000005</c:v>
                </c:pt>
                <c:pt idx="1">
                  <c:v>632.22529999999995</c:v>
                </c:pt>
                <c:pt idx="2">
                  <c:v>747.31100000000004</c:v>
                </c:pt>
                <c:pt idx="3">
                  <c:v>640.42579999999998</c:v>
                </c:pt>
                <c:pt idx="4">
                  <c:v>596.89359999999999</c:v>
                </c:pt>
                <c:pt idx="5">
                  <c:v>600.24639999999999</c:v>
                </c:pt>
              </c:numCache>
            </c:numRef>
          </c:xVal>
          <c:yVal>
            <c:numRef>
              <c:f>Sheet1!$B$2:$B$7</c:f>
              <c:numCache>
                <c:formatCode>General</c:formatCode>
                <c:ptCount val="6"/>
                <c:pt idx="0">
                  <c:v>0.92200000000000004</c:v>
                </c:pt>
                <c:pt idx="1">
                  <c:v>0.95799999999999996</c:v>
                </c:pt>
                <c:pt idx="2">
                  <c:v>1.26</c:v>
                </c:pt>
                <c:pt idx="3">
                  <c:v>0.95399999999999996</c:v>
                </c:pt>
                <c:pt idx="4">
                  <c:v>0.89300000000000002</c:v>
                </c:pt>
                <c:pt idx="5">
                  <c:v>1.419</c:v>
                </c:pt>
              </c:numCache>
            </c:numRef>
          </c:yVal>
          <c:bubbleSize>
            <c:numRef>
              <c:f>Sheet1!$C$2:$C$7</c:f>
              <c:numCache>
                <c:formatCode>General</c:formatCode>
                <c:ptCount val="6"/>
                <c:pt idx="0">
                  <c:v>137352856</c:v>
                </c:pt>
                <c:pt idx="1">
                  <c:v>70816815</c:v>
                </c:pt>
                <c:pt idx="2">
                  <c:v>56541549</c:v>
                </c:pt>
                <c:pt idx="3">
                  <c:v>23466483</c:v>
                </c:pt>
                <c:pt idx="4">
                  <c:v>21588447</c:v>
                </c:pt>
                <c:pt idx="5">
                  <c:v>17920958</c:v>
                </c:pt>
              </c:numCache>
            </c:numRef>
          </c:bubbleSize>
          <c:bubble3D val="0"/>
          <c:extLst>
            <c:ext xmlns:c15="http://schemas.microsoft.com/office/drawing/2012/chart" uri="{02D57815-91ED-43cb-92C2-25804820EDAC}">
              <c15:datalabelsRange>
                <c15:f>Sheet1!$E$2:$E$10</c15:f>
                <c15:dlblRangeCache>
                  <c:ptCount val="9"/>
                  <c:pt idx="0">
                    <c:v>L'Oreal</c:v>
                  </c:pt>
                  <c:pt idx="1">
                    <c:v>Isdin</c:v>
                  </c:pt>
                  <c:pt idx="2">
                    <c:v>Pierre Fabre</c:v>
                  </c:pt>
                  <c:pt idx="3">
                    <c:v>Ifc</c:v>
                  </c:pt>
                  <c:pt idx="4">
                    <c:v>Beiersdorf</c:v>
                  </c:pt>
                  <c:pt idx="5">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7"/>
          <c:min val="47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E46F2B-9011-44A3-B904-089ABEAF6C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AD2AA5-E5FB-4BC9-9305-82E629D65A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BA4A349-AD15-4487-8A83-14F581FD25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E5E6708-F4AA-4304-B8F7-D7FFD2D7D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9EEF79D-452B-487B-95B5-446134FF15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DFE06F8-FC11-47A9-A72C-45EDCE63C2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02F6B59-AA59-4198-AC05-00E6E06AD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92DB77A-D7B6-46BD-8C18-A547ACBA07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32.08420000000001</c:v>
                </c:pt>
                <c:pt idx="1">
                  <c:v>632.31629999999996</c:v>
                </c:pt>
                <c:pt idx="2">
                  <c:v>582.02020000000005</c:v>
                </c:pt>
                <c:pt idx="3">
                  <c:v>663.69219999999996</c:v>
                </c:pt>
                <c:pt idx="4">
                  <c:v>752.56579999999997</c:v>
                </c:pt>
                <c:pt idx="5">
                  <c:v>511.63319999999999</c:v>
                </c:pt>
              </c:numCache>
            </c:numRef>
          </c:xVal>
          <c:yVal>
            <c:numRef>
              <c:f>Sheet1!$B$2:$B$7</c:f>
              <c:numCache>
                <c:formatCode>General</c:formatCode>
                <c:ptCount val="6"/>
                <c:pt idx="0">
                  <c:v>0.5</c:v>
                </c:pt>
                <c:pt idx="1">
                  <c:v>2.4620000000000002</c:v>
                </c:pt>
                <c:pt idx="2">
                  <c:v>2.2690000000000001</c:v>
                </c:pt>
                <c:pt idx="3">
                  <c:v>2.3769999999999998</c:v>
                </c:pt>
                <c:pt idx="4">
                  <c:v>5.3550000000000004</c:v>
                </c:pt>
                <c:pt idx="5">
                  <c:v>1</c:v>
                </c:pt>
              </c:numCache>
            </c:numRef>
          </c:yVal>
          <c:bubbleSize>
            <c:numRef>
              <c:f>Sheet1!$C$2:$C$7</c:f>
              <c:numCache>
                <c:formatCode>General</c:formatCode>
                <c:ptCount val="6"/>
                <c:pt idx="0">
                  <c:v>106368391</c:v>
                </c:pt>
                <c:pt idx="1">
                  <c:v>81286153</c:v>
                </c:pt>
                <c:pt idx="2">
                  <c:v>57204435</c:v>
                </c:pt>
                <c:pt idx="3">
                  <c:v>22137452</c:v>
                </c:pt>
                <c:pt idx="4">
                  <c:v>12419594</c:v>
                </c:pt>
                <c:pt idx="5">
                  <c:v>5839270</c:v>
                </c:pt>
              </c:numCache>
            </c:numRef>
          </c:bubbleSize>
          <c:bubble3D val="0"/>
          <c:extLst>
            <c:ext xmlns:c15="http://schemas.microsoft.com/office/drawing/2012/chart" uri="{02D57815-91ED-43cb-92C2-25804820EDAC}">
              <c15:datalabelsRange>
                <c15:f>Sheet1!$E$2:$E$10</c15:f>
                <c15:dlblRangeCache>
                  <c:ptCount val="9"/>
                  <c:pt idx="0">
                    <c:v>Isdin</c:v>
                  </c:pt>
                  <c:pt idx="1">
                    <c:v>Beiersdorf</c:v>
                  </c:pt>
                  <c:pt idx="2">
                    <c:v>L'Oreal</c:v>
                  </c:pt>
                  <c:pt idx="3">
                    <c:v>Ifc</c:v>
                  </c:pt>
                  <c:pt idx="4">
                    <c:v>Bioderma</c:v>
                  </c:pt>
                  <c:pt idx="5">
                    <c:v>Gal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3"/>
          <c:min val="40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8E7769-610C-454D-9618-60712346B2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C02907-3882-45FA-8C4C-D93120305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BD5E724-A7EC-4A88-9042-02FAEB6C6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7FD9F75-989B-4457-968D-2FABBC33F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892E36D-A413-4B6B-BA74-26BDA76F63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52C60BF-F2F7-4CDC-AC9C-5DAC2C0A7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DFC706B-E348-4A86-95F7-82A0557413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2E40F7E-3E72-4DF3-A552-5BE6D0582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87.48429999999996</c:v>
                </c:pt>
                <c:pt idx="1">
                  <c:v>824.6857</c:v>
                </c:pt>
              </c:numCache>
            </c:numRef>
          </c:xVal>
          <c:yVal>
            <c:numRef>
              <c:f>Sheet1!$B$2:$B$3</c:f>
              <c:numCache>
                <c:formatCode>General</c:formatCode>
                <c:ptCount val="2"/>
                <c:pt idx="0">
                  <c:v>0.879</c:v>
                </c:pt>
                <c:pt idx="1">
                  <c:v>2.84</c:v>
                </c:pt>
              </c:numCache>
            </c:numRef>
          </c:yVal>
          <c:bubbleSize>
            <c:numRef>
              <c:f>Sheet1!$C$2:$C$3</c:f>
              <c:numCache>
                <c:formatCode>General</c:formatCode>
                <c:ptCount val="2"/>
                <c:pt idx="0">
                  <c:v>34448463</c:v>
                </c:pt>
                <c:pt idx="1">
                  <c:v>7277027</c:v>
                </c:pt>
              </c:numCache>
            </c:numRef>
          </c:bubbleSize>
          <c:bubble3D val="0"/>
          <c:extLst>
            <c:ext xmlns:c15="http://schemas.microsoft.com/office/drawing/2012/chart" uri="{02D57815-91ED-43cb-92C2-25804820EDAC}">
              <c15:datalabelsRange>
                <c15:f>Sheet1!$E$2:$E$10</c15:f>
                <c15:dlblRangeCache>
                  <c:ptCount val="9"/>
                  <c:pt idx="0">
                    <c:v>Beiersdorf</c:v>
                  </c:pt>
                  <c:pt idx="1">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90"/>
          <c:min val="5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0FB7C69-05A5-4E04-975D-2321CA29D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5DC9121-25F9-40E4-AD92-B9D6A5F28D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A83626-6971-4232-B750-6EF24FD3AC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BE12431-2952-41BD-8247-E518FB9BE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618862F-0DA9-4D8A-8F10-B04EBAD98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0D0C7F-8679-45A9-AEA6-EA5F95995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AF64281-2239-4A1F-8A6C-39B8835A74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A530876-B024-4B97-8ACA-C6CBB6E30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316.46140000000003</c:v>
                </c:pt>
                <c:pt idx="1">
                  <c:v>628.96190000000001</c:v>
                </c:pt>
                <c:pt idx="2">
                  <c:v>700.29290000000003</c:v>
                </c:pt>
                <c:pt idx="3">
                  <c:v>516.58640000000003</c:v>
                </c:pt>
                <c:pt idx="4">
                  <c:v>603.49339999999995</c:v>
                </c:pt>
                <c:pt idx="5">
                  <c:v>447.51420000000002</c:v>
                </c:pt>
                <c:pt idx="6">
                  <c:v>888.16780000000006</c:v>
                </c:pt>
              </c:numCache>
            </c:numRef>
          </c:xVal>
          <c:yVal>
            <c:numRef>
              <c:f>Sheet1!$B$2:$B$8</c:f>
              <c:numCache>
                <c:formatCode>General</c:formatCode>
                <c:ptCount val="7"/>
                <c:pt idx="0">
                  <c:v>1.224</c:v>
                </c:pt>
                <c:pt idx="1">
                  <c:v>1.46</c:v>
                </c:pt>
                <c:pt idx="2">
                  <c:v>0.78200000000000003</c:v>
                </c:pt>
                <c:pt idx="3">
                  <c:v>0.78400000000000003</c:v>
                </c:pt>
                <c:pt idx="4">
                  <c:v>0.46500000000000002</c:v>
                </c:pt>
                <c:pt idx="5">
                  <c:v>0.70399999999999996</c:v>
                </c:pt>
                <c:pt idx="6">
                  <c:v>0.879</c:v>
                </c:pt>
              </c:numCache>
            </c:numRef>
          </c:yVal>
          <c:bubbleSize>
            <c:numRef>
              <c:f>Sheet1!$C$2:$C$8</c:f>
              <c:numCache>
                <c:formatCode>General</c:formatCode>
                <c:ptCount val="7"/>
                <c:pt idx="0">
                  <c:v>39736790</c:v>
                </c:pt>
                <c:pt idx="1">
                  <c:v>18058126</c:v>
                </c:pt>
                <c:pt idx="2">
                  <c:v>9653538</c:v>
                </c:pt>
                <c:pt idx="3">
                  <c:v>9608507</c:v>
                </c:pt>
                <c:pt idx="4">
                  <c:v>8407267</c:v>
                </c:pt>
                <c:pt idx="5">
                  <c:v>2911975</c:v>
                </c:pt>
                <c:pt idx="6">
                  <c:v>2900756</c:v>
                </c:pt>
              </c:numCache>
            </c:numRef>
          </c:bubbleSize>
          <c:bubble3D val="0"/>
          <c:extLst>
            <c:ext xmlns:c15="http://schemas.microsoft.com/office/drawing/2012/chart" uri="{02D57815-91ED-43cb-92C2-25804820EDAC}">
              <c15:datalabelsRange>
                <c15:f>Sheet1!$E$2:$E$10</c15:f>
                <c15:dlblRangeCache>
                  <c:ptCount val="9"/>
                  <c:pt idx="0">
                    <c:v>L'Oreal</c:v>
                  </c:pt>
                  <c:pt idx="1">
                    <c:v>Isdin</c:v>
                  </c:pt>
                  <c:pt idx="2">
                    <c:v>Beiersdorf</c:v>
                  </c:pt>
                  <c:pt idx="3">
                    <c:v>Galderma</c:v>
                  </c:pt>
                  <c:pt idx="4">
                    <c:v>Pierre Fabre</c:v>
                  </c:pt>
                  <c:pt idx="5">
                    <c:v>Glaxosmithkline</c:v>
                  </c:pt>
                  <c:pt idx="6">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66"/>
          <c:min val="25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170FA06-37EE-4DD6-BC7D-059A3BC9D0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313FEF-7AF9-4F28-A26B-ED83298A0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C1F1D8F-EF5B-441E-86A5-30D6AC0AF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78FF652-BB15-4C5A-90B7-8A2EA69AEC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C521505-B022-4A61-9672-39E3DE7FA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16EBE19-4DB0-4FD9-9121-3B2FB0D1A6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5D20B94-A5FC-48F0-ABEB-AC70EE87B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33E7FA8-976B-4AF4-8029-8766E1DB7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36.27970000000005</c:v>
                </c:pt>
                <c:pt idx="1">
                  <c:v>654.95699999999999</c:v>
                </c:pt>
                <c:pt idx="2">
                  <c:v>300.2527</c:v>
                </c:pt>
              </c:numCache>
            </c:numRef>
          </c:xVal>
          <c:yVal>
            <c:numRef>
              <c:f>Sheet1!$B$2:$B$4</c:f>
              <c:numCache>
                <c:formatCode>General</c:formatCode>
                <c:ptCount val="3"/>
                <c:pt idx="0">
                  <c:v>0.754</c:v>
                </c:pt>
                <c:pt idx="1">
                  <c:v>1.286</c:v>
                </c:pt>
                <c:pt idx="2">
                  <c:v>1.379</c:v>
                </c:pt>
              </c:numCache>
            </c:numRef>
          </c:yVal>
          <c:bubbleSize>
            <c:numRef>
              <c:f>Sheet1!$C$2:$C$4</c:f>
              <c:numCache>
                <c:formatCode>General</c:formatCode>
                <c:ptCount val="3"/>
                <c:pt idx="0">
                  <c:v>6581041</c:v>
                </c:pt>
                <c:pt idx="1">
                  <c:v>4375768</c:v>
                </c:pt>
                <c:pt idx="2">
                  <c:v>4101452</c:v>
                </c:pt>
              </c:numCache>
            </c:numRef>
          </c:bubbleSize>
          <c:bubble3D val="0"/>
          <c:extLst>
            <c:ext xmlns:c15="http://schemas.microsoft.com/office/drawing/2012/chart" uri="{02D57815-91ED-43cb-92C2-25804820EDAC}">
              <c15:datalabelsRange>
                <c15:f>Sheet1!$E$2:$E$10</c15:f>
                <c15:dlblRangeCache>
                  <c:ptCount val="9"/>
                  <c:pt idx="0">
                    <c:v>Isdin</c:v>
                  </c:pt>
                  <c:pt idx="1">
                    <c:v>L'Oreal</c:v>
                  </c:pt>
                  <c:pt idx="2">
                    <c:v>Glaxosmithkli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6"/>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975F83C-5618-4472-A20C-599D5E9EAE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211C88F4-792A-4714-BE51-21A8FA7CA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B31B75C2-A630-4ADD-BCC7-A913004E4C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427786FA-81C6-4316-B50A-569118E28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D261D320-31FF-4DD5-8C4B-425074FAA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36A2BF63-1CFB-4157-8E7A-F16A8137E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465F9952-30F2-4CB9-BA1C-BDD270166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68730E77-96CB-4BC5-B049-75776183E9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721.28530000000001</c:v>
                </c:pt>
                <c:pt idx="1">
                  <c:v>975.346</c:v>
                </c:pt>
                <c:pt idx="2">
                  <c:v>605.37639999999999</c:v>
                </c:pt>
              </c:numCache>
            </c:numRef>
          </c:xVal>
          <c:yVal>
            <c:numRef>
              <c:f>Sheet1!$B$2:$B$4</c:f>
              <c:numCache>
                <c:formatCode>General</c:formatCode>
                <c:ptCount val="3"/>
                <c:pt idx="0">
                  <c:v>0.90300000000000002</c:v>
                </c:pt>
                <c:pt idx="1">
                  <c:v>1.6779999999999999</c:v>
                </c:pt>
                <c:pt idx="2">
                  <c:v>1.673</c:v>
                </c:pt>
              </c:numCache>
            </c:numRef>
          </c:yVal>
          <c:bubbleSize>
            <c:numRef>
              <c:f>Sheet1!$C$2:$C$4</c:f>
              <c:numCache>
                <c:formatCode>General</c:formatCode>
                <c:ptCount val="3"/>
                <c:pt idx="0">
                  <c:v>24116173</c:v>
                </c:pt>
                <c:pt idx="1">
                  <c:v>4087675</c:v>
                </c:pt>
                <c:pt idx="2">
                  <c:v>2301641</c:v>
                </c:pt>
              </c:numCache>
            </c:numRef>
          </c:bubbleSize>
          <c:bubble3D val="0"/>
          <c:extLst>
            <c:ext xmlns:c15="http://schemas.microsoft.com/office/drawing/2012/chart" uri="{02D57815-91ED-43cb-92C2-25804820EDAC}">
              <c15:datalabelsRange>
                <c15:f>Sheet1!$E$2:$E$10</c15:f>
                <c15:dlblRangeCache>
                  <c:ptCount val="9"/>
                  <c:pt idx="0">
                    <c:v>Photoderm</c:v>
                  </c:pt>
                  <c:pt idx="1">
                    <c:v>La Roche-Posay</c:v>
                  </c:pt>
                  <c:pt idx="2">
                    <c:v>Genov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70"/>
          <c:min val="48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51CF99-A60F-4796-932B-7DED2A657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8084BC-C701-4161-A160-2CDD5CE69D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A3B8C8-349C-4CCC-843B-2DAF85664B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75F88CC-3D39-4104-933E-456C91DD5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0A0361A-9885-4B20-B1C0-117C6D5F4C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78B1442-E722-42DC-AE5F-DCB8ECC16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CA7F1D2-45CF-4271-B25E-B4CB8AE032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6F4D1B2-02E0-4CD1-A179-9494642BD2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738.86839999999995</c:v>
                </c:pt>
                <c:pt idx="1">
                  <c:v>1043.2023999999999</c:v>
                </c:pt>
                <c:pt idx="2">
                  <c:v>636.08339999999998</c:v>
                </c:pt>
              </c:numCache>
            </c:numRef>
          </c:xVal>
          <c:yVal>
            <c:numRef>
              <c:f>Sheet1!$B$2:$B$4</c:f>
              <c:numCache>
                <c:formatCode>General</c:formatCode>
                <c:ptCount val="3"/>
                <c:pt idx="0">
                  <c:v>0.89600000000000002</c:v>
                </c:pt>
                <c:pt idx="1">
                  <c:v>1.7969999999999999</c:v>
                </c:pt>
                <c:pt idx="2">
                  <c:v>1.7050000000000001</c:v>
                </c:pt>
              </c:numCache>
            </c:numRef>
          </c:yVal>
          <c:bubbleSize>
            <c:numRef>
              <c:f>Sheet1!$C$2:$C$4</c:f>
              <c:numCache>
                <c:formatCode>General</c:formatCode>
                <c:ptCount val="3"/>
                <c:pt idx="0">
                  <c:v>23557341</c:v>
                </c:pt>
                <c:pt idx="1">
                  <c:v>4051798</c:v>
                </c:pt>
                <c:pt idx="2">
                  <c:v>2243466</c:v>
                </c:pt>
              </c:numCache>
            </c:numRef>
          </c:bubbleSize>
          <c:bubble3D val="0"/>
          <c:extLst>
            <c:ext xmlns:c15="http://schemas.microsoft.com/office/drawing/2012/chart" uri="{02D57815-91ED-43cb-92C2-25804820EDAC}">
              <c15:datalabelsRange>
                <c15:f>Sheet1!$E$2:$E$10</c15:f>
                <c15:dlblRangeCache>
                  <c:ptCount val="9"/>
                  <c:pt idx="0">
                    <c:v>Bioderma</c:v>
                  </c:pt>
                  <c:pt idx="1">
                    <c:v>L'Oreal</c:v>
                  </c:pt>
                  <c:pt idx="2">
                    <c:v>Genove Lab.</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52"/>
          <c:min val="50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AEBAF0-7DB7-4464-B99C-9716ADC14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9B57CAF-E7E3-4EC1-84E3-1CB5644B70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4A6750C-938A-4006-B3EE-735BFF7A0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CCF9C13-961E-4E2E-93B5-C46A0426C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6EEE7FA-CB67-4BB7-9531-A32155DF44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F2BE39F-DB6C-40FF-81DA-FA1BB844C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1E53715-F31E-40E2-8DF0-5182BC344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C6C5314-7159-492D-96B3-11BB4D5DED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80.52710000000002</c:v>
                </c:pt>
              </c:numCache>
            </c:numRef>
          </c:xVal>
          <c:yVal>
            <c:numRef>
              <c:f>Sheet1!$B$2:$B$2</c:f>
              <c:numCache>
                <c:formatCode>General</c:formatCode>
                <c:ptCount val="1"/>
                <c:pt idx="0">
                  <c:v>1</c:v>
                </c:pt>
              </c:numCache>
            </c:numRef>
          </c:yVal>
          <c:bubbleSize>
            <c:numRef>
              <c:f>Sheet1!$C$2:$C$2</c:f>
              <c:numCache>
                <c:formatCode>General</c:formatCode>
                <c:ptCount val="1"/>
                <c:pt idx="0">
                  <c:v>35235613</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77"/>
          <c:min val="38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37D673-78BA-4CC5-AE5C-94819CC307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F6E172-20AB-4AC2-8ED2-EDBE87CC0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82C14E4-F0DB-489A-A299-D4D66E6421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EBE5756-D540-474F-B573-40547001E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0AF9685-B795-43E0-BE6E-812C18EEB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57BFF6B-1F2A-45EB-B56B-E6B74B2541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9685BFB-9161-4FF7-B143-E2DAC116C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86EB4C1-080B-4358-A3C6-29B820D180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57.81979999999999</c:v>
                </c:pt>
                <c:pt idx="1">
                  <c:v>75.910200000000003</c:v>
                </c:pt>
              </c:numCache>
            </c:numRef>
          </c:xVal>
          <c:yVal>
            <c:numRef>
              <c:f>Sheet1!$B$2:$B$3</c:f>
              <c:numCache>
                <c:formatCode>General</c:formatCode>
                <c:ptCount val="2"/>
                <c:pt idx="0">
                  <c:v>1.2210000000000001</c:v>
                </c:pt>
                <c:pt idx="1">
                  <c:v>0.68500000000000005</c:v>
                </c:pt>
              </c:numCache>
            </c:numRef>
          </c:yVal>
          <c:bubbleSize>
            <c:numRef>
              <c:f>Sheet1!$C$2:$C$3</c:f>
              <c:numCache>
                <c:formatCode>General</c:formatCode>
                <c:ptCount val="2"/>
                <c:pt idx="0">
                  <c:v>50721412</c:v>
                </c:pt>
                <c:pt idx="1">
                  <c:v>18676646</c:v>
                </c:pt>
              </c:numCache>
            </c:numRef>
          </c:bubbleSize>
          <c:bubble3D val="0"/>
          <c:extLst>
            <c:ext xmlns:c15="http://schemas.microsoft.com/office/drawing/2012/chart" uri="{02D57815-91ED-43cb-92C2-25804820EDAC}">
              <c15:datalabelsRange>
                <c15:f>Sheet1!$E$2:$E$10</c15:f>
                <c15:dlblRangeCache>
                  <c:ptCount val="9"/>
                  <c:pt idx="0">
                    <c:v>Edgewell</c:v>
                  </c:pt>
                  <c:pt idx="1">
                    <c:v>Total Care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9"/>
          <c:min val="6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E61427-F63D-4435-875A-AFA5E35571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AE20098-69F4-4732-96B3-B41BEDB8C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3CF61BA-FEF7-4296-B2ED-B4061C14F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AB367A1-A031-44A9-B231-FDCFA708D5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1C6B9F8-61A1-4737-9FC4-E85A28CA98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0285FA7-3CA7-427B-BA59-D0DED00E7F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F2FFA5A-AC79-4A05-8137-C77B8421C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39E2B4C-24CF-41AE-ACC6-9B9CFC2375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9.12889999999999</c:v>
                </c:pt>
              </c:numCache>
            </c:numRef>
          </c:xVal>
          <c:yVal>
            <c:numRef>
              <c:f>Sheet1!$B$2:$B$2</c:f>
              <c:numCache>
                <c:formatCode>General</c:formatCode>
                <c:ptCount val="1"/>
                <c:pt idx="0">
                  <c:v>1</c:v>
                </c:pt>
              </c:numCache>
            </c:numRef>
          </c:yVal>
          <c:bubbleSize>
            <c:numRef>
              <c:f>Sheet1!$C$2:$C$2</c:f>
              <c:numCache>
                <c:formatCode>General</c:formatCode>
                <c:ptCount val="1"/>
                <c:pt idx="0">
                  <c:v>104381842</c:v>
                </c:pt>
              </c:numCache>
            </c:numRef>
          </c:bubbleSize>
          <c:bubble3D val="0"/>
          <c:extLst>
            <c:ext xmlns:c15="http://schemas.microsoft.com/office/drawing/2012/chart" uri="{02D57815-91ED-43cb-92C2-25804820EDAC}">
              <c15:datalabelsRange>
                <c15:f>Sheet1!$E$2:$E$10</c15:f>
                <c15:dlblRangeCache>
                  <c:ptCount val="9"/>
                  <c:pt idx="0">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3"/>
          <c:min val="17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4412E2-7A0D-4378-B34F-3E891E0798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DC9C39EA-E2DD-466F-BC08-D3AF1A1A8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2D40C2E-F88F-4D97-AD6D-47E7D94447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1BF2CC9-9B4A-432F-ACB0-0DB62CE187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90522FF-28A9-4BD2-9325-6E395CC2B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C2FCD1D-F8BA-4119-9BAF-7507FDFA2D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53FB76A-1620-4D2B-BD04-6E3F957556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9D02554-E6C3-4011-A3A4-0CC31F773F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90.40649999999999</c:v>
                </c:pt>
              </c:numCache>
            </c:numRef>
          </c:xVal>
          <c:yVal>
            <c:numRef>
              <c:f>Sheet1!$B$2:$B$2</c:f>
              <c:numCache>
                <c:formatCode>General</c:formatCode>
                <c:ptCount val="1"/>
                <c:pt idx="0">
                  <c:v>0.995</c:v>
                </c:pt>
              </c:numCache>
            </c:numRef>
          </c:yVal>
          <c:bubbleSize>
            <c:numRef>
              <c:f>Sheet1!$C$2:$C$2</c:f>
              <c:numCache>
                <c:formatCode>General</c:formatCode>
                <c:ptCount val="1"/>
                <c:pt idx="0">
                  <c:v>31430026</c:v>
                </c:pt>
              </c:numCache>
            </c:numRef>
          </c:bubbleSize>
          <c:bubble3D val="0"/>
          <c:extLst>
            <c:ext xmlns:c15="http://schemas.microsoft.com/office/drawing/2012/chart" uri="{02D57815-91ED-43cb-92C2-25804820EDAC}">
              <c15:datalabelsRange>
                <c15:f>Sheet1!$E$2:$E$10</c15:f>
                <c15:dlblRangeCache>
                  <c:ptCount val="9"/>
                  <c:pt idx="0">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8"/>
          <c:min val="15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71F14B9-FBB4-455A-88A2-707C174874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6F5921A-95E1-48E3-B42D-87D69033A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57E2015-4224-44B6-A978-6F6BE466AC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E164591-C0DE-47D9-B3A3-FC2EC1E52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8019786-256B-444E-8CBF-294D8AACB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55CB717-E6DD-4A3F-8BFC-BA3FF9115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562BC04-4691-496B-97E8-B627C74921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C082D3F-1694-4279-AC88-F2E3AA933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0.27610000000001</c:v>
                </c:pt>
              </c:numCache>
            </c:numRef>
          </c:xVal>
          <c:yVal>
            <c:numRef>
              <c:f>Sheet1!$B$2:$B$2</c:f>
              <c:numCache>
                <c:formatCode>General</c:formatCode>
                <c:ptCount val="1"/>
                <c:pt idx="0">
                  <c:v>1</c:v>
                </c:pt>
              </c:numCache>
            </c:numRef>
          </c:yVal>
          <c:bubbleSize>
            <c:numRef>
              <c:f>Sheet1!$C$2:$C$2</c:f>
              <c:numCache>
                <c:formatCode>General</c:formatCode>
                <c:ptCount val="1"/>
                <c:pt idx="0">
                  <c:v>1672957</c:v>
                </c:pt>
              </c:numCache>
            </c:numRef>
          </c:bubbleSize>
          <c:bubble3D val="0"/>
          <c:extLst>
            <c:ext xmlns:c15="http://schemas.microsoft.com/office/drawing/2012/chart" uri="{02D57815-91ED-43cb-92C2-25804820EDAC}">
              <c15:datalabelsRange>
                <c15:f>Sheet1!$E$2:$E$10</c15:f>
                <c15:dlblRangeCache>
                  <c:ptCount val="9"/>
                  <c:pt idx="0">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2"/>
          <c:min val="1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6271833-3542-4D00-BF01-F121103F0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DCD5BC-8547-4B1A-A58E-DAAAC1A7A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6EB9560-069A-4BF4-A822-E00132FAF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A43D658-35C9-49AC-AE5D-FD3DAE8EF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032DB88-DB98-46D5-A3DC-13877D073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09DB1EA-823F-4CA8-BB43-B1054BF0E5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99BDCA0-5C35-4C8B-9061-C90A587E25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2BA1D94-6E8A-4535-8811-A20BB1B49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09.32509999999999</c:v>
                </c:pt>
                <c:pt idx="1">
                  <c:v>393.94940000000003</c:v>
                </c:pt>
                <c:pt idx="2">
                  <c:v>320.19260000000003</c:v>
                </c:pt>
              </c:numCache>
            </c:numRef>
          </c:xVal>
          <c:yVal>
            <c:numRef>
              <c:f>Sheet1!$B$2:$B$4</c:f>
              <c:numCache>
                <c:formatCode>General</c:formatCode>
                <c:ptCount val="3"/>
                <c:pt idx="0">
                  <c:v>0.60199999999999998</c:v>
                </c:pt>
                <c:pt idx="1">
                  <c:v>2.2109999999999999</c:v>
                </c:pt>
                <c:pt idx="2">
                  <c:v>2.2650000000000001</c:v>
                </c:pt>
              </c:numCache>
            </c:numRef>
          </c:yVal>
          <c:bubbleSize>
            <c:numRef>
              <c:f>Sheet1!$C$2:$C$4</c:f>
              <c:numCache>
                <c:formatCode>General</c:formatCode>
                <c:ptCount val="3"/>
                <c:pt idx="0">
                  <c:v>792505</c:v>
                </c:pt>
                <c:pt idx="1">
                  <c:v>599985</c:v>
                </c:pt>
                <c:pt idx="2">
                  <c:v>319232</c:v>
                </c:pt>
              </c:numCache>
            </c:numRef>
          </c:bubbleSize>
          <c:bubble3D val="0"/>
          <c:extLst>
            <c:ext xmlns:c15="http://schemas.microsoft.com/office/drawing/2012/chart" uri="{02D57815-91ED-43cb-92C2-25804820EDAC}">
              <c15:datalabelsRange>
                <c15:f>Sheet1!$E$2:$E$10</c15:f>
                <c15:dlblRangeCache>
                  <c:ptCount val="9"/>
                  <c:pt idx="0">
                    <c:v>Edgewell</c:v>
                  </c:pt>
                  <c:pt idx="1">
                    <c:v>Australian Gold</c:v>
                  </c:pt>
                  <c:pt idx="2">
                    <c:v>Sun &amp; Skin Care Resear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3"/>
          <c:min val="1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C0086A-9143-4204-B5AA-D6040D5302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D835364-A1AB-4CD0-8862-62C9FAE32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03F1A10-E116-4CAB-A768-3395BD1B9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0ACD79A-325A-47AD-B1B2-472956BDAC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1632AD1-469A-4A7E-99C9-7357A6903B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3FFB29B-C55A-4336-AC9A-B81A2A6EC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FE7C3E3-5775-43D6-934F-2692F178AB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6A5547C-2443-4847-B61D-D5240AB67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55.99919999999997</c:v>
                </c:pt>
              </c:numCache>
            </c:numRef>
          </c:xVal>
          <c:yVal>
            <c:numRef>
              <c:f>Sheet1!$B$2:$B$2</c:f>
              <c:numCache>
                <c:formatCode>General</c:formatCode>
                <c:ptCount val="1"/>
                <c:pt idx="0">
                  <c:v>1</c:v>
                </c:pt>
              </c:numCache>
            </c:numRef>
          </c:yVal>
          <c:bubbleSize>
            <c:numRef>
              <c:f>Sheet1!$C$2:$C$2</c:f>
              <c:numCache>
                <c:formatCode>General</c:formatCode>
                <c:ptCount val="1"/>
                <c:pt idx="0">
                  <c:v>12520547</c:v>
                </c:pt>
              </c:numCache>
            </c:numRef>
          </c:bubbleSize>
          <c:bubble3D val="0"/>
          <c:extLst>
            <c:ext xmlns:c15="http://schemas.microsoft.com/office/drawing/2012/chart" uri="{02D57815-91ED-43cb-92C2-25804820EDAC}">
              <c15:datalabelsRange>
                <c15:f>Sheet1!$E$2:$E$10</c15:f>
                <c15:dlblRangeCache>
                  <c:ptCount val="9"/>
                  <c:pt idx="0">
                    <c:v>If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7"/>
          <c:min val="44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0D3BAC8-72BE-4A96-8C0A-40D0CC638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89733D36-78AE-4626-9375-18D86BAA5E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7884DFF-E899-4B59-B967-EF111B0C7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E8285EC-C5C8-452B-A47D-5BEBCD8E8A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A8BB28B-2263-4E35-AC95-87ED6029A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AB267A6-6BD1-4AF1-87C9-713FBBF917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C46CCBA-3F92-414E-8DC9-597DD98D58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7FABE66-89C2-43E3-BBCB-34C883FBD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95.63639999999998</c:v>
                </c:pt>
              </c:numCache>
            </c:numRef>
          </c:xVal>
          <c:yVal>
            <c:numRef>
              <c:f>Sheet1!$B$2:$B$2</c:f>
              <c:numCache>
                <c:formatCode>General</c:formatCode>
                <c:ptCount val="1"/>
                <c:pt idx="0">
                  <c:v>2.0259999999999998</c:v>
                </c:pt>
              </c:numCache>
            </c:numRef>
          </c:yVal>
          <c:bubbleSize>
            <c:numRef>
              <c:f>Sheet1!$C$2:$C$2</c:f>
              <c:numCache>
                <c:formatCode>General</c:formatCode>
                <c:ptCount val="1"/>
                <c:pt idx="0">
                  <c:v>21760</c:v>
                </c:pt>
              </c:numCache>
            </c:numRef>
          </c:bubbleSize>
          <c:bubble3D val="0"/>
          <c:extLst>
            <c:ext xmlns:c15="http://schemas.microsoft.com/office/drawing/2012/chart" uri="{02D57815-91ED-43cb-92C2-25804820EDAC}">
              <c15:datalabelsRange>
                <c15:f>Sheet1!$E$2:$E$10</c15:f>
                <c15:dlblRangeCache>
                  <c:ptCount val="9"/>
                  <c:pt idx="0">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5"/>
          <c:min val="31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E0E3A2-1CE8-4536-BB31-6141C565C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DCC1DF-EBC5-4056-B816-4A34ED100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8A8A2A-B4D7-4BA6-8C42-389D646A8D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C58A1E8-4A41-4168-B3BB-7BF3BACD1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D93D7E5-C6D9-4E5E-9EB0-04208CA449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45B82DB-3D61-49A6-82D6-2C36CB80F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C5BE29F-10C3-4398-89E5-B6078C4314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72B5E94-0ED9-4C9D-9101-8CEE719437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08.18990000000002</c:v>
                </c:pt>
                <c:pt idx="1">
                  <c:v>276.26420000000002</c:v>
                </c:pt>
                <c:pt idx="2">
                  <c:v>69.445300000000003</c:v>
                </c:pt>
                <c:pt idx="3">
                  <c:v>195.4134</c:v>
                </c:pt>
                <c:pt idx="4">
                  <c:v>79.343900000000005</c:v>
                </c:pt>
              </c:numCache>
            </c:numRef>
          </c:xVal>
          <c:yVal>
            <c:numRef>
              <c:f>Sheet1!$B$2:$B$6</c:f>
              <c:numCache>
                <c:formatCode>General</c:formatCode>
                <c:ptCount val="5"/>
                <c:pt idx="0">
                  <c:v>2.036</c:v>
                </c:pt>
                <c:pt idx="1">
                  <c:v>0.72699999999999998</c:v>
                </c:pt>
                <c:pt idx="2">
                  <c:v>0.371</c:v>
                </c:pt>
                <c:pt idx="3">
                  <c:v>2.9380000000000002</c:v>
                </c:pt>
                <c:pt idx="4">
                  <c:v>0.39300000000000002</c:v>
                </c:pt>
              </c:numCache>
            </c:numRef>
          </c:yVal>
          <c:bubbleSize>
            <c:numRef>
              <c:f>Sheet1!$C$2:$C$6</c:f>
              <c:numCache>
                <c:formatCode>General</c:formatCode>
                <c:ptCount val="5"/>
                <c:pt idx="0">
                  <c:v>76293336</c:v>
                </c:pt>
                <c:pt idx="1">
                  <c:v>35329497</c:v>
                </c:pt>
                <c:pt idx="2">
                  <c:v>10561444</c:v>
                </c:pt>
                <c:pt idx="3">
                  <c:v>6690760</c:v>
                </c:pt>
                <c:pt idx="4">
                  <c:v>4749286</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Total Care De Mexico</c:v>
                  </c:pt>
                  <c:pt idx="3">
                    <c:v>L'Oreal</c:v>
                  </c:pt>
                  <c:pt idx="4">
                    <c:v>Inds.Lavin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0"/>
          <c:min val="5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8311BE1-4539-4A8E-9EF6-85C4E30270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6F7754-7E07-4A9D-B90E-33BC71CC8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B689F3-C264-4EAE-BC63-3692690B4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0ECBB0B-274B-42B4-BD95-9567C83CF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F7E12F6-17D7-4D10-9B41-9EE8519C1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9F96918-B798-4B38-B0E9-7D2DC0FFE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E5AFA8-FEAC-4DF3-A6AE-31669A22FC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EBC30D9-2624-417A-BFAC-91F73A1160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21.58029999999997</c:v>
                </c:pt>
                <c:pt idx="1">
                  <c:v>605.30100000000004</c:v>
                </c:pt>
                <c:pt idx="2">
                  <c:v>681.07219999999995</c:v>
                </c:pt>
                <c:pt idx="3">
                  <c:v>711.79589999999996</c:v>
                </c:pt>
                <c:pt idx="4">
                  <c:v>284.08139999999997</c:v>
                </c:pt>
                <c:pt idx="5">
                  <c:v>251.63939999999999</c:v>
                </c:pt>
                <c:pt idx="6">
                  <c:v>194.42529999999999</c:v>
                </c:pt>
                <c:pt idx="7">
                  <c:v>282.38249999999999</c:v>
                </c:pt>
              </c:numCache>
            </c:numRef>
          </c:xVal>
          <c:yVal>
            <c:numRef>
              <c:f>Sheet1!$B$2:$B$9</c:f>
              <c:numCache>
                <c:formatCode>General</c:formatCode>
                <c:ptCount val="8"/>
                <c:pt idx="0">
                  <c:v>1.6619999999999999</c:v>
                </c:pt>
                <c:pt idx="1">
                  <c:v>2.8319999999999999</c:v>
                </c:pt>
                <c:pt idx="2">
                  <c:v>2.4380000000000002</c:v>
                </c:pt>
                <c:pt idx="3">
                  <c:v>2.125</c:v>
                </c:pt>
                <c:pt idx="4">
                  <c:v>0.52900000000000003</c:v>
                </c:pt>
                <c:pt idx="5">
                  <c:v>0.31</c:v>
                </c:pt>
                <c:pt idx="6">
                  <c:v>0.30099999999999999</c:v>
                </c:pt>
                <c:pt idx="7">
                  <c:v>2.8719999999999999</c:v>
                </c:pt>
              </c:numCache>
            </c:numRef>
          </c:yVal>
          <c:bubbleSize>
            <c:numRef>
              <c:f>Sheet1!$C$2:$C$9</c:f>
              <c:numCache>
                <c:formatCode>General</c:formatCode>
                <c:ptCount val="8"/>
                <c:pt idx="0">
                  <c:v>452020654</c:v>
                </c:pt>
                <c:pt idx="1">
                  <c:v>303187392</c:v>
                </c:pt>
                <c:pt idx="2">
                  <c:v>204970054</c:v>
                </c:pt>
                <c:pt idx="3">
                  <c:v>196500511</c:v>
                </c:pt>
                <c:pt idx="4">
                  <c:v>188092032</c:v>
                </c:pt>
                <c:pt idx="5">
                  <c:v>104768549</c:v>
                </c:pt>
                <c:pt idx="6">
                  <c:v>99479662</c:v>
                </c:pt>
                <c:pt idx="7">
                  <c:v>530032</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Eucerin</c:v>
                  </c:pt>
                  <c:pt idx="3">
                    <c:v>Avene</c:v>
                  </c:pt>
                  <c:pt idx="4">
                    <c:v>Nivea</c:v>
                  </c:pt>
                  <c:pt idx="5">
                    <c:v>Hawaiian Tropic</c:v>
                  </c:pt>
                  <c:pt idx="6">
                    <c:v>Banana Boat</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4"/>
          <c:min val="15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39D7F54F-90D7-4F1F-B575-2871A7E8D9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CA-4C16-90F6-A0D9A3D8DA8E}"/>
                </c:ext>
              </c:extLst>
            </c:dLbl>
            <c:dLbl>
              <c:idx val="2"/>
              <c:tx>
                <c:rich>
                  <a:bodyPr/>
                  <a:lstStyle/>
                  <a:p>
                    <a:fld id="{485919F4-70A7-47FE-ADCF-1C4D5B7F9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19A2C2FB-AB2A-4669-B09A-42448A585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BE71F8F2-C77C-4BF1-9418-6C32A8D5B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6980552D-86CB-45EC-95AD-F78F3A885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1837FF6B-DF48-47B8-B80D-844C727C98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A8BE4DB7-AE68-4A77-AE6E-11799C5E5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EC0DE13C-2A38-487D-B5A1-59B59033B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75.40699999999998</c:v>
                </c:pt>
              </c:numCache>
            </c:numRef>
          </c:xVal>
          <c:yVal>
            <c:numRef>
              <c:f>Sheet1!$B$2:$B$2</c:f>
              <c:numCache>
                <c:formatCode>General</c:formatCode>
                <c:ptCount val="1"/>
                <c:pt idx="0">
                  <c:v>0.998</c:v>
                </c:pt>
              </c:numCache>
            </c:numRef>
          </c:yVal>
          <c:bubbleSize>
            <c:numRef>
              <c:f>Sheet1!$C$2:$C$2</c:f>
              <c:numCache>
                <c:formatCode>General</c:formatCode>
                <c:ptCount val="1"/>
                <c:pt idx="0">
                  <c:v>36576861</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70"/>
          <c:min val="38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570417-3C09-4056-B80D-6D6509DF9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EAE948A7-865A-43D9-B89C-42AB8E1F5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1EE404E-DAB7-44DE-AFD7-07A92F620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0DC7260-D2B2-4B02-86A7-6C153F932A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A098368-44D2-48CB-9EA3-8EB91D3F49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F401509-612A-4D98-82E3-DF9DEE2A7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44A4025-3771-481C-9BB0-D1DC83501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F768A6F-2883-4D8D-9F22-18D6FF6D8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13.48149999999998</c:v>
                </c:pt>
              </c:numCache>
            </c:numRef>
          </c:xVal>
          <c:yVal>
            <c:numRef>
              <c:f>Sheet1!$B$2:$B$2</c:f>
              <c:numCache>
                <c:formatCode>General</c:formatCode>
                <c:ptCount val="1"/>
                <c:pt idx="0">
                  <c:v>0.99299999999999999</c:v>
                </c:pt>
              </c:numCache>
            </c:numRef>
          </c:yVal>
          <c:bubbleSize>
            <c:numRef>
              <c:f>Sheet1!$C$2:$C$2</c:f>
              <c:numCache>
                <c:formatCode>General</c:formatCode>
                <c:ptCount val="1"/>
                <c:pt idx="0">
                  <c:v>5359907</c:v>
                </c:pt>
              </c:numCache>
            </c:numRef>
          </c:bubbleSize>
          <c:bubble3D val="0"/>
          <c:extLst>
            <c:ext xmlns:c15="http://schemas.microsoft.com/office/drawing/2012/chart" uri="{02D57815-91ED-43cb-92C2-25804820EDAC}">
              <c15:datalabelsRange>
                <c15:f>Sheet1!$E$2:$E$10</c15:f>
                <c15:dlblRangeCache>
                  <c:ptCount val="9"/>
                  <c:pt idx="0">
                    <c:v>Beiersdorf</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6"/>
          <c:min val="25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62200C-1A9D-4AC4-9C43-CBCAD6B5F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01BE5B6-38F5-4B65-9EE6-F0D2FA902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A8EFA53-4376-4177-B742-EBBBCA42D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B0037D5-FC01-4281-9D04-EE6B0BC188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949687A-EEE1-4509-A624-B99DC94E7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8B7564B-AD1A-4DE6-A88D-AC7AAD7EF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CE4D423-07A8-42FB-9004-13FD960270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926A01D-92DD-4E36-826C-FB253EB6E7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37.60390000000001</c:v>
                </c:pt>
              </c:numCache>
            </c:numRef>
          </c:xVal>
          <c:yVal>
            <c:numRef>
              <c:f>Sheet1!$B$2:$B$2</c:f>
              <c:numCache>
                <c:formatCode>General</c:formatCode>
                <c:ptCount val="1"/>
                <c:pt idx="0">
                  <c:v>0.98399999999999999</c:v>
                </c:pt>
              </c:numCache>
            </c:numRef>
          </c:yVal>
          <c:bubbleSize>
            <c:numRef>
              <c:f>Sheet1!$C$2:$C$2</c:f>
              <c:numCache>
                <c:formatCode>General</c:formatCode>
                <c:ptCount val="1"/>
                <c:pt idx="0">
                  <c:v>30352613</c:v>
                </c:pt>
              </c:numCache>
            </c:numRef>
          </c:bubbleSize>
          <c:bubble3D val="0"/>
          <c:extLst>
            <c:ext xmlns:c15="http://schemas.microsoft.com/office/drawing/2012/chart" uri="{02D57815-91ED-43cb-92C2-25804820EDAC}">
              <c15:datalabelsRange>
                <c15:f>Sheet1!$E$2:$E$10</c15:f>
                <c15:dlblRangeCache>
                  <c:ptCount val="9"/>
                  <c:pt idx="0">
                    <c:v>Beiersdorf</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05"/>
          <c:min val="2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FE95BF-CAD7-4442-A9B6-2742481369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706F604-C887-4683-9827-EC85F7111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1D33BE2-A195-47EF-8B9A-D24BD9531E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C8726BD-5D2C-4BEA-B609-9B12CCE68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0D80592-D76D-478F-A4F7-CF57891013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2909DC3-1E12-44AB-8BBD-1F9158F0F9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E006BFF-8585-471D-AF8F-6F50A0D75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1F29EA2-E840-4503-BE92-2AA433EA90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47.43469999999999</c:v>
                </c:pt>
                <c:pt idx="1">
                  <c:v>205.51169999999999</c:v>
                </c:pt>
              </c:numCache>
            </c:numRef>
          </c:xVal>
          <c:yVal>
            <c:numRef>
              <c:f>Sheet1!$B$2:$B$3</c:f>
              <c:numCache>
                <c:formatCode>General</c:formatCode>
                <c:ptCount val="2"/>
                <c:pt idx="0">
                  <c:v>0.91800000000000004</c:v>
                </c:pt>
                <c:pt idx="1">
                  <c:v>0.80700000000000005</c:v>
                </c:pt>
              </c:numCache>
            </c:numRef>
          </c:yVal>
          <c:bubbleSize>
            <c:numRef>
              <c:f>Sheet1!$C$2:$C$3</c:f>
              <c:numCache>
                <c:formatCode>General</c:formatCode>
                <c:ptCount val="2"/>
                <c:pt idx="0">
                  <c:v>75533658</c:v>
                </c:pt>
                <c:pt idx="1">
                  <c:v>67307148</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7"/>
          <c:min val="1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F2A4AC-3385-449A-95D2-7F512D8E6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7346F82-128E-46DA-9910-674C2EFBF0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32854BD-4E56-4533-A93F-5C5B032A2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3642A60-F13B-4BB5-B9C5-A7756DDFC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8C13B90-EE78-41CA-A035-1876B3EE6E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A3B4A75-D1C3-4492-8726-B5B7441E47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A479D13-6C17-4D31-BC89-1E796735C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7935603-3EB7-48AC-A6B5-8C4B02492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25.98270000000002</c:v>
                </c:pt>
                <c:pt idx="1">
                  <c:v>412.82</c:v>
                </c:pt>
                <c:pt idx="2">
                  <c:v>264.61829999999998</c:v>
                </c:pt>
              </c:numCache>
            </c:numRef>
          </c:xVal>
          <c:yVal>
            <c:numRef>
              <c:f>Sheet1!$B$2:$B$4</c:f>
              <c:numCache>
                <c:formatCode>General</c:formatCode>
                <c:ptCount val="3"/>
                <c:pt idx="0">
                  <c:v>0.91300000000000003</c:v>
                </c:pt>
                <c:pt idx="1">
                  <c:v>4.5359999999999996</c:v>
                </c:pt>
                <c:pt idx="2">
                  <c:v>0.65800000000000003</c:v>
                </c:pt>
              </c:numCache>
            </c:numRef>
          </c:yVal>
          <c:bubbleSize>
            <c:numRef>
              <c:f>Sheet1!$C$2:$C$4</c:f>
              <c:numCache>
                <c:formatCode>General</c:formatCode>
                <c:ptCount val="3"/>
                <c:pt idx="0">
                  <c:v>14610870</c:v>
                </c:pt>
                <c:pt idx="1">
                  <c:v>1969977</c:v>
                </c:pt>
                <c:pt idx="2">
                  <c:v>377875</c:v>
                </c:pt>
              </c:numCache>
            </c:numRef>
          </c:bubbleSize>
          <c:bubble3D val="0"/>
          <c:extLst>
            <c:ext xmlns:c15="http://schemas.microsoft.com/office/drawing/2012/chart" uri="{02D57815-91ED-43cb-92C2-25804820EDAC}">
              <c15:datalabelsRange>
                <c15:f>Sheet1!$E$2:$E$10</c15:f>
                <c15:dlblRangeCache>
                  <c:ptCount val="9"/>
                  <c:pt idx="0">
                    <c:v>Edgewell</c:v>
                  </c:pt>
                  <c:pt idx="1">
                    <c:v>Labs. Expanscience</c:v>
                  </c:pt>
                  <c:pt idx="2">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5"/>
          <c:min val="21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5977750-C62F-4B78-8353-2A4F5EF880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1C89E0D-87A7-4F8C-AFB5-EDBBDC44D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2244505-3F08-4C07-9F63-6C0405556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C10B284-CB7C-4F35-AF11-D385F106F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38FFAAD-CAD0-4D62-BACF-C3CF3EFD2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9921BD1-C783-4F63-B23C-B4EC58BA6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774CFFB-F901-46A0-810C-DBC2A9B5B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E0C9278-B44E-4DC4-B4E8-8B939F6E8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34.5549</c:v>
                </c:pt>
              </c:numCache>
            </c:numRef>
          </c:xVal>
          <c:yVal>
            <c:numRef>
              <c:f>Sheet1!$B$2:$B$2</c:f>
              <c:numCache>
                <c:formatCode>General</c:formatCode>
                <c:ptCount val="1"/>
                <c:pt idx="0">
                  <c:v>0.80300000000000005</c:v>
                </c:pt>
              </c:numCache>
            </c:numRef>
          </c:yVal>
          <c:bubbleSize>
            <c:numRef>
              <c:f>Sheet1!$C$2:$C$2</c:f>
              <c:numCache>
                <c:formatCode>General</c:formatCode>
                <c:ptCount val="1"/>
                <c:pt idx="0">
                  <c:v>3247882</c:v>
                </c:pt>
              </c:numCache>
            </c:numRef>
          </c:bubbleSize>
          <c:bubble3D val="0"/>
          <c:extLst>
            <c:ext xmlns:c15="http://schemas.microsoft.com/office/drawing/2012/chart" uri="{02D57815-91ED-43cb-92C2-25804820EDAC}">
              <c15:datalabelsRange>
                <c15:f>Sheet1!$E$2:$E$10</c15:f>
                <c15:dlblRangeCache>
                  <c:ptCount val="9"/>
                  <c:pt idx="0">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1"/>
          <c:min val="18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79E8661-8E38-4133-9414-4E92438CEE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84ABC984-4799-4253-A775-353772FC3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CFE270B-3ACD-4450-A5AA-5BB1DE364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153CD58-1752-4AA3-9EC4-CB18B1DD41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8CE14CE-65F2-408E-8714-59AC1B0C4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7CD57DF-7CAB-4AE3-BCDE-13671C40E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3068B73-0A4B-4FD0-934D-6D167810F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AFA541B-63B5-4D20-936A-BBB45BE712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21.38740000000001</c:v>
                </c:pt>
              </c:numCache>
            </c:numRef>
          </c:xVal>
          <c:yVal>
            <c:numRef>
              <c:f>Sheet1!$B$2:$B$2</c:f>
              <c:numCache>
                <c:formatCode>General</c:formatCode>
                <c:ptCount val="1"/>
                <c:pt idx="0">
                  <c:v>0.94599999999999995</c:v>
                </c:pt>
              </c:numCache>
            </c:numRef>
          </c:yVal>
          <c:bubbleSize>
            <c:numRef>
              <c:f>Sheet1!$C$2:$C$2</c:f>
              <c:numCache>
                <c:formatCode>General</c:formatCode>
                <c:ptCount val="1"/>
                <c:pt idx="0">
                  <c:v>73722</c:v>
                </c:pt>
              </c:numCache>
            </c:numRef>
          </c:bubbleSize>
          <c:bubble3D val="0"/>
          <c:extLst>
            <c:ext xmlns:c15="http://schemas.microsoft.com/office/drawing/2012/chart" uri="{02D57815-91ED-43cb-92C2-25804820EDAC}">
              <c15:datalabelsRange>
                <c15:f>Sheet1!$E$2:$E$10</c15:f>
                <c15:dlblRangeCache>
                  <c:ptCount val="9"/>
                  <c:pt idx="0">
                    <c:v>Labs. Expanscie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6"/>
          <c:min val="17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A899172-EED2-4A1B-8A29-1ADF3D00C7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9A6658-9942-47B3-93F6-390469202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2D1D32D-4D2B-4BD7-9740-3065E582F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6D92E9A-362C-46B6-B4B9-BF91F84555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F273C0C-F422-458D-AC95-A6B9E4460C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23AF426-B526-4BF1-8617-DFD411B82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BB1576E-7106-4056-9EB6-B3837ABFD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736730E-1C09-4D08-A74A-950A128C05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588.25030000000004</c:v>
                </c:pt>
                <c:pt idx="1">
                  <c:v>652.13699999999994</c:v>
                </c:pt>
                <c:pt idx="2">
                  <c:v>698.27750000000003</c:v>
                </c:pt>
                <c:pt idx="3">
                  <c:v>776.75390000000004</c:v>
                </c:pt>
              </c:numCache>
            </c:numRef>
          </c:xVal>
          <c:yVal>
            <c:numRef>
              <c:f>Sheet1!$B$2:$B$5</c:f>
              <c:numCache>
                <c:formatCode>General</c:formatCode>
                <c:ptCount val="4"/>
                <c:pt idx="0">
                  <c:v>1.587</c:v>
                </c:pt>
                <c:pt idx="1">
                  <c:v>0.72499999999999998</c:v>
                </c:pt>
                <c:pt idx="2">
                  <c:v>0.77600000000000002</c:v>
                </c:pt>
                <c:pt idx="3">
                  <c:v>0.94099999999999995</c:v>
                </c:pt>
              </c:numCache>
            </c:numRef>
          </c:yVal>
          <c:bubbleSize>
            <c:numRef>
              <c:f>Sheet1!$C$2:$C$5</c:f>
              <c:numCache>
                <c:formatCode>General</c:formatCode>
                <c:ptCount val="4"/>
                <c:pt idx="0">
                  <c:v>25311821</c:v>
                </c:pt>
                <c:pt idx="1">
                  <c:v>21728553</c:v>
                </c:pt>
                <c:pt idx="2">
                  <c:v>3737181</c:v>
                </c:pt>
                <c:pt idx="3">
                  <c:v>602761</c:v>
                </c:pt>
              </c:numCache>
            </c:numRef>
          </c:bubbleSize>
          <c:bubble3D val="0"/>
          <c:extLst>
            <c:ext xmlns:c15="http://schemas.microsoft.com/office/drawing/2012/chart" uri="{02D57815-91ED-43cb-92C2-25804820EDAC}">
              <c15:datalabelsRange>
                <c15:f>Sheet1!$E$2:$E$10</c15:f>
                <c15:dlblRangeCache>
                  <c:ptCount val="9"/>
                  <c:pt idx="0">
                    <c:v>L'Oreal</c:v>
                  </c:pt>
                  <c:pt idx="1">
                    <c:v>Isdin</c:v>
                  </c:pt>
                  <c:pt idx="2">
                    <c:v>Ifc</c:v>
                  </c:pt>
                  <c:pt idx="3">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32"/>
          <c:min val="47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DAEAFB-DB4F-4039-9475-85CB9C0B4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22A33B-31BF-4198-8312-D1327B34AA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FF2E3F-64E5-4D1A-84A0-50D4054084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1E9E46-EBEC-40EA-B3C6-458A27EB43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DC54712-1946-4C06-8B5F-C62AC3716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EE9A8B-DCEB-41CF-B3F5-A00759E854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6AFA1CA-EF1F-4FCE-92F7-83FE7419E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424110B-91A9-4B4A-82D0-C6316EBE47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26.56700000000001</c:v>
                </c:pt>
                <c:pt idx="1">
                  <c:v>712.61649999999997</c:v>
                </c:pt>
                <c:pt idx="2">
                  <c:v>681.68029999999999</c:v>
                </c:pt>
                <c:pt idx="3">
                  <c:v>728.54459999999995</c:v>
                </c:pt>
                <c:pt idx="4">
                  <c:v>322.411</c:v>
                </c:pt>
                <c:pt idx="5">
                  <c:v>627.55100000000004</c:v>
                </c:pt>
                <c:pt idx="6">
                  <c:v>745.46540000000005</c:v>
                </c:pt>
                <c:pt idx="7">
                  <c:v>464.29259999999999</c:v>
                </c:pt>
              </c:numCache>
            </c:numRef>
          </c:xVal>
          <c:yVal>
            <c:numRef>
              <c:f>Sheet1!$B$2:$B$9</c:f>
              <c:numCache>
                <c:formatCode>General</c:formatCode>
                <c:ptCount val="8"/>
                <c:pt idx="0">
                  <c:v>1.4990000000000001</c:v>
                </c:pt>
                <c:pt idx="1">
                  <c:v>1.05</c:v>
                </c:pt>
                <c:pt idx="2">
                  <c:v>0.88600000000000001</c:v>
                </c:pt>
                <c:pt idx="3">
                  <c:v>1.0069999999999999</c:v>
                </c:pt>
                <c:pt idx="4">
                  <c:v>0.42899999999999999</c:v>
                </c:pt>
                <c:pt idx="5">
                  <c:v>1.5289999999999999</c:v>
                </c:pt>
                <c:pt idx="6">
                  <c:v>2.7610000000000001</c:v>
                </c:pt>
                <c:pt idx="7">
                  <c:v>1.135</c:v>
                </c:pt>
              </c:numCache>
            </c:numRef>
          </c:yVal>
          <c:bubbleSize>
            <c:numRef>
              <c:f>Sheet1!$C$2:$C$9</c:f>
              <c:numCache>
                <c:formatCode>General</c:formatCode>
                <c:ptCount val="8"/>
                <c:pt idx="0">
                  <c:v>236836703</c:v>
                </c:pt>
                <c:pt idx="1">
                  <c:v>119491534</c:v>
                </c:pt>
                <c:pt idx="2">
                  <c:v>115911547</c:v>
                </c:pt>
                <c:pt idx="3">
                  <c:v>77229369</c:v>
                </c:pt>
                <c:pt idx="4">
                  <c:v>58967363</c:v>
                </c:pt>
                <c:pt idx="5">
                  <c:v>44488346</c:v>
                </c:pt>
                <c:pt idx="6">
                  <c:v>42071086</c:v>
                </c:pt>
                <c:pt idx="7">
                  <c:v>14735718</c:v>
                </c:pt>
              </c:numCache>
            </c:numRef>
          </c:bubbleSize>
          <c:bubble3D val="0"/>
          <c:extLst>
            <c:ext xmlns:c15="http://schemas.microsoft.com/office/drawing/2012/chart" uri="{02D57815-91ED-43cb-92C2-25804820EDAC}">
              <c15:datalabelsRange>
                <c15:f>Sheet1!$E$2:$E$10</c15:f>
                <c15:dlblRangeCache>
                  <c:ptCount val="9"/>
                  <c:pt idx="0">
                    <c:v>Isdin</c:v>
                  </c:pt>
                  <c:pt idx="1">
                    <c:v>L'Oreal</c:v>
                  </c:pt>
                  <c:pt idx="2">
                    <c:v>Pierre Fabre</c:v>
                  </c:pt>
                  <c:pt idx="3">
                    <c:v>Beiersdorf</c:v>
                  </c:pt>
                  <c:pt idx="4">
                    <c:v>J&amp;J</c:v>
                  </c:pt>
                  <c:pt idx="5">
                    <c:v>Ifc</c:v>
                  </c:pt>
                  <c:pt idx="6">
                    <c:v>Bioderma</c:v>
                  </c:pt>
                  <c:pt idx="7">
                    <c:v>Gal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5"/>
          <c:min val="25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F009515-EBE0-4D56-AAC3-B7B4A27EFE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2F8E05-EF2E-4D8E-8C19-BAC123475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D8386F-09FD-45F6-888D-69ED4EDFDA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168E6BC-E2B7-4AB0-98D2-18750B829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BFE37CB-6FFF-4C2C-9049-2C2FE4EF6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4F027EC-85D9-482A-B224-FBE336262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1660551-F13A-43AC-B4E2-AC8F82DCE7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BB7D2B1-54F3-4E82-B5B5-F78A5514FF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29.39239999999995</c:v>
                </c:pt>
                <c:pt idx="1">
                  <c:v>646.77200000000005</c:v>
                </c:pt>
                <c:pt idx="2">
                  <c:v>772.65</c:v>
                </c:pt>
                <c:pt idx="3">
                  <c:v>639.43899999999996</c:v>
                </c:pt>
                <c:pt idx="4">
                  <c:v>619.71360000000004</c:v>
                </c:pt>
                <c:pt idx="5">
                  <c:v>658.16420000000005</c:v>
                </c:pt>
              </c:numCache>
            </c:numRef>
          </c:xVal>
          <c:yVal>
            <c:numRef>
              <c:f>Sheet1!$B$2:$B$7</c:f>
              <c:numCache>
                <c:formatCode>General</c:formatCode>
                <c:ptCount val="6"/>
                <c:pt idx="0">
                  <c:v>0.91700000000000004</c:v>
                </c:pt>
                <c:pt idx="1">
                  <c:v>0.96099999999999997</c:v>
                </c:pt>
                <c:pt idx="2">
                  <c:v>1.2529999999999999</c:v>
                </c:pt>
                <c:pt idx="3">
                  <c:v>0.92600000000000005</c:v>
                </c:pt>
                <c:pt idx="4">
                  <c:v>0.91100000000000003</c:v>
                </c:pt>
                <c:pt idx="5">
                  <c:v>1.45</c:v>
                </c:pt>
              </c:numCache>
            </c:numRef>
          </c:yVal>
          <c:bubbleSize>
            <c:numRef>
              <c:f>Sheet1!$C$2:$C$7</c:f>
              <c:numCache>
                <c:formatCode>General</c:formatCode>
                <c:ptCount val="6"/>
                <c:pt idx="0">
                  <c:v>120217088</c:v>
                </c:pt>
                <c:pt idx="1">
                  <c:v>55895332</c:v>
                </c:pt>
                <c:pt idx="2">
                  <c:v>51773732</c:v>
                </c:pt>
                <c:pt idx="3">
                  <c:v>23370856</c:v>
                </c:pt>
                <c:pt idx="4">
                  <c:v>16949787</c:v>
                </c:pt>
                <c:pt idx="5">
                  <c:v>15586645</c:v>
                </c:pt>
              </c:numCache>
            </c:numRef>
          </c:bubbleSize>
          <c:bubble3D val="0"/>
          <c:extLst>
            <c:ext xmlns:c15="http://schemas.microsoft.com/office/drawing/2012/chart" uri="{02D57815-91ED-43cb-92C2-25804820EDAC}">
              <c15:datalabelsRange>
                <c15:f>Sheet1!$E$2:$E$10</c15:f>
                <c15:dlblRangeCache>
                  <c:ptCount val="9"/>
                  <c:pt idx="0">
                    <c:v>L'Oreal</c:v>
                  </c:pt>
                  <c:pt idx="1">
                    <c:v>Isdin</c:v>
                  </c:pt>
                  <c:pt idx="2">
                    <c:v>Pierre Fabre</c:v>
                  </c:pt>
                  <c:pt idx="3">
                    <c:v>Ifc</c:v>
                  </c:pt>
                  <c:pt idx="4">
                    <c:v>Beiersdorf</c:v>
                  </c:pt>
                  <c:pt idx="5">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27"/>
          <c:min val="49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7F2C3F-8F4C-4A0E-A9D0-2F77A9D96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1330BE-1F6B-4841-BABE-D15A14CFCE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CE67FC9-698F-4EC7-9900-A79E5B7FAB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5BBE65-5A69-49E7-AB3C-EC6280B02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B4D5E51-33BB-420D-842F-DBC2CF3E3B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4E4E32A-60FE-40D3-9B50-76A57B08BA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8D6B889-4DA9-40E2-AA68-5708AC3E8A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D55FBE5-99F7-4A46-B0A5-1728FEE263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40.50599999999997</c:v>
                </c:pt>
                <c:pt idx="1">
                  <c:v>648.19640000000004</c:v>
                </c:pt>
                <c:pt idx="2">
                  <c:v>586.74339999999995</c:v>
                </c:pt>
                <c:pt idx="3">
                  <c:v>661.21299999999997</c:v>
                </c:pt>
                <c:pt idx="4">
                  <c:v>786.29650000000004</c:v>
                </c:pt>
                <c:pt idx="5">
                  <c:v>523.94230000000005</c:v>
                </c:pt>
              </c:numCache>
            </c:numRef>
          </c:xVal>
          <c:yVal>
            <c:numRef>
              <c:f>Sheet1!$B$2:$B$7</c:f>
              <c:numCache>
                <c:formatCode>General</c:formatCode>
                <c:ptCount val="6"/>
                <c:pt idx="0">
                  <c:v>0.48799999999999999</c:v>
                </c:pt>
                <c:pt idx="1">
                  <c:v>2.4420000000000002</c:v>
                </c:pt>
                <c:pt idx="2">
                  <c:v>2.2029999999999998</c:v>
                </c:pt>
                <c:pt idx="3">
                  <c:v>2.2400000000000002</c:v>
                </c:pt>
                <c:pt idx="4">
                  <c:v>4.9870000000000001</c:v>
                </c:pt>
                <c:pt idx="5">
                  <c:v>0.98</c:v>
                </c:pt>
              </c:numCache>
            </c:numRef>
          </c:yVal>
          <c:bubbleSize>
            <c:numRef>
              <c:f>Sheet1!$C$2:$C$7</c:f>
              <c:numCache>
                <c:formatCode>General</c:formatCode>
                <c:ptCount val="6"/>
                <c:pt idx="0">
                  <c:v>88726737</c:v>
                </c:pt>
                <c:pt idx="1">
                  <c:v>69410170</c:v>
                </c:pt>
                <c:pt idx="2">
                  <c:v>51697378</c:v>
                </c:pt>
                <c:pt idx="3">
                  <c:v>21966819</c:v>
                </c:pt>
                <c:pt idx="4">
                  <c:v>10846174</c:v>
                </c:pt>
                <c:pt idx="5">
                  <c:v>4515335</c:v>
                </c:pt>
              </c:numCache>
            </c:numRef>
          </c:bubbleSize>
          <c:bubble3D val="0"/>
          <c:extLst>
            <c:ext xmlns:c15="http://schemas.microsoft.com/office/drawing/2012/chart" uri="{02D57815-91ED-43cb-92C2-25804820EDAC}">
              <c15:datalabelsRange>
                <c15:f>Sheet1!$E$2:$E$10</c15:f>
                <c15:dlblRangeCache>
                  <c:ptCount val="9"/>
                  <c:pt idx="0">
                    <c:v>Isdin</c:v>
                  </c:pt>
                  <c:pt idx="1">
                    <c:v>Beiersdorf</c:v>
                  </c:pt>
                  <c:pt idx="2">
                    <c:v>L'Oreal</c:v>
                  </c:pt>
                  <c:pt idx="3">
                    <c:v>Ifc</c:v>
                  </c:pt>
                  <c:pt idx="4">
                    <c:v>Bioderma</c:v>
                  </c:pt>
                  <c:pt idx="5">
                    <c:v>Gal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4"/>
          <c:min val="4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74237D-3BD3-4841-B1A1-7B25DF8A24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D956C89-654C-4670-8921-FEE90EB88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CF552BC-7B71-4296-AC35-C0495ABD3D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EA8C64D-2CBA-4E57-A70F-B38BDEEB1A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E1E452C-DEAF-4F5D-90E4-E276DD5C2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DC092E8-ACDE-438F-9662-77351BF71B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A9F1152-BF1F-452E-9F2D-6E5605B4AC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7F84E96-5FB5-4FB2-AFF9-F5F65AF653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54.5727</c:v>
                </c:pt>
                <c:pt idx="1">
                  <c:v>74.708699999999993</c:v>
                </c:pt>
              </c:numCache>
            </c:numRef>
          </c:xVal>
          <c:yVal>
            <c:numRef>
              <c:f>Sheet1!$B$2:$B$3</c:f>
              <c:numCache>
                <c:formatCode>General</c:formatCode>
                <c:ptCount val="2"/>
                <c:pt idx="0">
                  <c:v>1.2230000000000001</c:v>
                </c:pt>
                <c:pt idx="1">
                  <c:v>0.69299999999999995</c:v>
                </c:pt>
              </c:numCache>
            </c:numRef>
          </c:yVal>
          <c:bubbleSize>
            <c:numRef>
              <c:f>Sheet1!$C$2:$C$3</c:f>
              <c:numCache>
                <c:formatCode>General</c:formatCode>
                <c:ptCount val="2"/>
                <c:pt idx="0">
                  <c:v>53404764</c:v>
                </c:pt>
                <c:pt idx="1">
                  <c:v>20489297</c:v>
                </c:pt>
              </c:numCache>
            </c:numRef>
          </c:bubbleSize>
          <c:bubble3D val="0"/>
          <c:extLst>
            <c:ext xmlns:c15="http://schemas.microsoft.com/office/drawing/2012/chart" uri="{02D57815-91ED-43cb-92C2-25804820EDAC}">
              <c15:datalabelsRange>
                <c15:f>Sheet1!$E$2:$E$10</c15:f>
                <c15:dlblRangeCache>
                  <c:ptCount val="9"/>
                  <c:pt idx="0">
                    <c:v>Banana Boat</c:v>
                  </c:pt>
                  <c:pt idx="1">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5"/>
          <c:min val="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49777B-1244-4554-B1E3-397ADECED1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0107AC5-A072-4D1E-A4CE-8EA2283B4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4DB4EEA-37A8-4295-AA78-B4B35067A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8D1D9AE-8732-41F2-887E-714C56BC3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E56C5D8-6DA9-4EF4-A4A2-3C1EB43F06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056682C-96C6-4F2C-85D3-9ABD63ADBC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5306360-62D4-44D4-9A7C-FFEF9D680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DD98A39-0972-4C8A-9A41-1A1F9F3459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93.9</c:v>
                </c:pt>
                <c:pt idx="1">
                  <c:v>831.80759999999998</c:v>
                </c:pt>
              </c:numCache>
            </c:numRef>
          </c:xVal>
          <c:yVal>
            <c:numRef>
              <c:f>Sheet1!$B$2:$B$3</c:f>
              <c:numCache>
                <c:formatCode>General</c:formatCode>
                <c:ptCount val="2"/>
                <c:pt idx="0">
                  <c:v>0.88400000000000001</c:v>
                </c:pt>
                <c:pt idx="1">
                  <c:v>2.4860000000000002</c:v>
                </c:pt>
              </c:numCache>
            </c:numRef>
          </c:yVal>
          <c:bubbleSize>
            <c:numRef>
              <c:f>Sheet1!$C$2:$C$3</c:f>
              <c:numCache>
                <c:formatCode>General</c:formatCode>
                <c:ptCount val="2"/>
                <c:pt idx="0">
                  <c:v>31886093</c:v>
                </c:pt>
                <c:pt idx="1">
                  <c:v>6997997</c:v>
                </c:pt>
              </c:numCache>
            </c:numRef>
          </c:bubbleSize>
          <c:bubble3D val="0"/>
          <c:extLst>
            <c:ext xmlns:c15="http://schemas.microsoft.com/office/drawing/2012/chart" uri="{02D57815-91ED-43cb-92C2-25804820EDAC}">
              <c15:datalabelsRange>
                <c15:f>Sheet1!$E$2:$E$10</c15:f>
                <c15:dlblRangeCache>
                  <c:ptCount val="9"/>
                  <c:pt idx="0">
                    <c:v>Beiersdorf</c:v>
                  </c:pt>
                  <c:pt idx="1">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98"/>
          <c:min val="55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6375933-C325-4C74-A074-18DF3F36A9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DA246C-71B3-4223-A3AB-F494E13A1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4DF301-6BCA-4F98-808D-88326C2B2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34C146C-1862-4A96-A868-E35EF1C6E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E5E3DD-F575-4B0C-A29D-8F61A0B0A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A5800A-746A-432E-B10D-EFC74A9260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0191A0D-6DF8-43E1-B985-862FEA66E3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466B403-1DB1-489E-A9EA-2F03F1AD5C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418.60430000000002</c:v>
                </c:pt>
                <c:pt idx="1">
                  <c:v>637.64200000000005</c:v>
                </c:pt>
                <c:pt idx="2">
                  <c:v>614.92139999999995</c:v>
                </c:pt>
                <c:pt idx="3">
                  <c:v>524.34870000000001</c:v>
                </c:pt>
                <c:pt idx="4">
                  <c:v>797.26059999999995</c:v>
                </c:pt>
                <c:pt idx="5">
                  <c:v>885.49980000000005</c:v>
                </c:pt>
                <c:pt idx="6">
                  <c:v>560.77250000000004</c:v>
                </c:pt>
              </c:numCache>
            </c:numRef>
          </c:xVal>
          <c:yVal>
            <c:numRef>
              <c:f>Sheet1!$B$2:$B$8</c:f>
              <c:numCache>
                <c:formatCode>General</c:formatCode>
                <c:ptCount val="7"/>
                <c:pt idx="0">
                  <c:v>1.292</c:v>
                </c:pt>
                <c:pt idx="1">
                  <c:v>1.5169999999999999</c:v>
                </c:pt>
                <c:pt idx="2">
                  <c:v>0.48199999999999998</c:v>
                </c:pt>
                <c:pt idx="3">
                  <c:v>0.78400000000000003</c:v>
                </c:pt>
                <c:pt idx="4">
                  <c:v>0.87</c:v>
                </c:pt>
                <c:pt idx="5">
                  <c:v>0.872</c:v>
                </c:pt>
                <c:pt idx="6">
                  <c:v>0.90500000000000003</c:v>
                </c:pt>
              </c:numCache>
            </c:numRef>
          </c:yVal>
          <c:bubbleSize>
            <c:numRef>
              <c:f>Sheet1!$C$2:$C$8</c:f>
              <c:numCache>
                <c:formatCode>General</c:formatCode>
                <c:ptCount val="7"/>
                <c:pt idx="0">
                  <c:v>17339846</c:v>
                </c:pt>
                <c:pt idx="1">
                  <c:v>13405148</c:v>
                </c:pt>
                <c:pt idx="2">
                  <c:v>7937406</c:v>
                </c:pt>
                <c:pt idx="3">
                  <c:v>7648674</c:v>
                </c:pt>
                <c:pt idx="4">
                  <c:v>6171594</c:v>
                </c:pt>
                <c:pt idx="5">
                  <c:v>2581232</c:v>
                </c:pt>
                <c:pt idx="6">
                  <c:v>1853914</c:v>
                </c:pt>
              </c:numCache>
            </c:numRef>
          </c:bubbleSize>
          <c:bubble3D val="0"/>
          <c:extLst>
            <c:ext xmlns:c15="http://schemas.microsoft.com/office/drawing/2012/chart" uri="{02D57815-91ED-43cb-92C2-25804820EDAC}">
              <c15:datalabelsRange>
                <c15:f>Sheet1!$E$2:$E$10</c15:f>
                <c15:dlblRangeCache>
                  <c:ptCount val="9"/>
                  <c:pt idx="0">
                    <c:v>L'Oreal</c:v>
                  </c:pt>
                  <c:pt idx="1">
                    <c:v>Isdin</c:v>
                  </c:pt>
                  <c:pt idx="2">
                    <c:v>Pierre Fabre</c:v>
                  </c:pt>
                  <c:pt idx="3">
                    <c:v>Galderma</c:v>
                  </c:pt>
                  <c:pt idx="4">
                    <c:v>Beiersdorf</c:v>
                  </c:pt>
                  <c:pt idx="5">
                    <c:v>Bioderma</c:v>
                  </c:pt>
                  <c:pt idx="6">
                    <c:v>Glaxosmithkli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63"/>
          <c:min val="33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07363F-E7A4-40DF-B1FC-D36123258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689702-B1A2-4B34-BF61-550ACD53C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BE31656-CB59-447A-8E85-F2932FD8B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4E63282-F42D-40F9-B952-F5DE309BC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AA69C9F-B8F5-4462-A35C-BACECBFE2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7B353FA-989A-46F0-A7F1-B029EDBC2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7A5EBED-1BCB-4151-B8E3-328517749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DC1EA01-F117-4789-93C1-585CBF83A6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48.63059999999996</c:v>
                </c:pt>
                <c:pt idx="1">
                  <c:v>331.2047</c:v>
                </c:pt>
                <c:pt idx="2">
                  <c:v>721.35090000000002</c:v>
                </c:pt>
              </c:numCache>
            </c:numRef>
          </c:xVal>
          <c:yVal>
            <c:numRef>
              <c:f>Sheet1!$B$2:$B$4</c:f>
              <c:numCache>
                <c:formatCode>General</c:formatCode>
                <c:ptCount val="3"/>
                <c:pt idx="0">
                  <c:v>0.748</c:v>
                </c:pt>
                <c:pt idx="1">
                  <c:v>1.484</c:v>
                </c:pt>
                <c:pt idx="2">
                  <c:v>1.32</c:v>
                </c:pt>
              </c:numCache>
            </c:numRef>
          </c:yVal>
          <c:bubbleSize>
            <c:numRef>
              <c:f>Sheet1!$C$2:$C$4</c:f>
              <c:numCache>
                <c:formatCode>General</c:formatCode>
                <c:ptCount val="3"/>
                <c:pt idx="0">
                  <c:v>4895215</c:v>
                </c:pt>
                <c:pt idx="1">
                  <c:v>2831469</c:v>
                </c:pt>
                <c:pt idx="2">
                  <c:v>2783693</c:v>
                </c:pt>
              </c:numCache>
            </c:numRef>
          </c:bubbleSize>
          <c:bubble3D val="0"/>
          <c:extLst>
            <c:ext xmlns:c15="http://schemas.microsoft.com/office/drawing/2012/chart" uri="{02D57815-91ED-43cb-92C2-25804820EDAC}">
              <c15:datalabelsRange>
                <c15:f>Sheet1!$E$2:$E$10</c15:f>
                <c15:dlblRangeCache>
                  <c:ptCount val="9"/>
                  <c:pt idx="0">
                    <c:v>Isdin</c:v>
                  </c:pt>
                  <c:pt idx="1">
                    <c:v>Glaxosmithkline</c:v>
                  </c:pt>
                  <c:pt idx="2">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6"/>
          <c:min val="26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5943C3-3B08-455E-BDAA-D5FAB417F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7864AA4-6977-42F2-84BE-D82F89244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C636B7F-8C17-47A4-8E7E-1E0371114D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DC04590-BAEF-4A6A-8223-DBB07CAB6A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B5E799D-C543-4471-84CF-94F9BCE9F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C8AAA7C-89AD-49F2-9F40-8BFC980613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51A9870-F9B3-4BF3-B7AF-7A73164BED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B063BB6-D02B-4F56-A37C-19958DAE23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750.1001</c:v>
                </c:pt>
                <c:pt idx="1">
                  <c:v>1110.2319</c:v>
                </c:pt>
                <c:pt idx="2">
                  <c:v>631.07150000000001</c:v>
                </c:pt>
              </c:numCache>
            </c:numRef>
          </c:xVal>
          <c:yVal>
            <c:numRef>
              <c:f>Sheet1!$B$2:$B$4</c:f>
              <c:numCache>
                <c:formatCode>General</c:formatCode>
                <c:ptCount val="3"/>
                <c:pt idx="0">
                  <c:v>0.88900000000000001</c:v>
                </c:pt>
                <c:pt idx="1">
                  <c:v>1.837</c:v>
                </c:pt>
                <c:pt idx="2">
                  <c:v>1.677</c:v>
                </c:pt>
              </c:numCache>
            </c:numRef>
          </c:yVal>
          <c:bubbleSize>
            <c:numRef>
              <c:f>Sheet1!$C$2:$C$4</c:f>
              <c:numCache>
                <c:formatCode>General</c:formatCode>
                <c:ptCount val="3"/>
                <c:pt idx="0">
                  <c:v>20864033</c:v>
                </c:pt>
                <c:pt idx="1">
                  <c:v>3767017</c:v>
                </c:pt>
                <c:pt idx="2">
                  <c:v>2206857</c:v>
                </c:pt>
              </c:numCache>
            </c:numRef>
          </c:bubbleSize>
          <c:bubble3D val="0"/>
          <c:extLst>
            <c:ext xmlns:c15="http://schemas.microsoft.com/office/drawing/2012/chart" uri="{02D57815-91ED-43cb-92C2-25804820EDAC}">
              <c15:datalabelsRange>
                <c15:f>Sheet1!$E$2:$E$10</c15:f>
                <c15:dlblRangeCache>
                  <c:ptCount val="9"/>
                  <c:pt idx="0">
                    <c:v>Bioderma</c:v>
                  </c:pt>
                  <c:pt idx="1">
                    <c:v>L'Oreal</c:v>
                  </c:pt>
                  <c:pt idx="2">
                    <c:v>Genove Lab.</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32"/>
          <c:min val="50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A218DA7-3678-4616-8008-AE4046077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44473E35-980C-4A99-B4F0-B0BC741C09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2BAE8F6-A917-481A-97C1-F22DC45BF9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ADBB509-93C6-47D2-BDDF-411DC609B3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56D8230-B89C-4C0B-9FD1-062AF95B3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901F9D3-013D-4383-92DA-F9F0C48B79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1CADCD2-702A-4FED-9255-EA95FCA5AD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FBBF95A-8B97-41DA-9429-57BEF4B64D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89.36520000000002</c:v>
                </c:pt>
              </c:numCache>
            </c:numRef>
          </c:xVal>
          <c:yVal>
            <c:numRef>
              <c:f>Sheet1!$B$2:$B$2</c:f>
              <c:numCache>
                <c:formatCode>General</c:formatCode>
                <c:ptCount val="1"/>
                <c:pt idx="0">
                  <c:v>1</c:v>
                </c:pt>
              </c:numCache>
            </c:numRef>
          </c:yVal>
          <c:bubbleSize>
            <c:numRef>
              <c:f>Sheet1!$C$2:$C$2</c:f>
              <c:numCache>
                <c:formatCode>General</c:formatCode>
                <c:ptCount val="1"/>
                <c:pt idx="0">
                  <c:v>30527089</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87"/>
          <c:min val="39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60F0F0-F4CA-4CD4-AD29-16CCAC487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447163-3EC4-436B-A4DD-0581AF6972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DAD0DFB-6C3D-474B-B9A0-8FCEE1BCE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0B1407B-4428-4C71-B330-214053516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BBF8C4B-6A9F-4001-BAB2-56CB9DD74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EDAF67C-5E4F-4EF1-874F-E455E2023B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005844B-C98A-411F-A71A-BEC1BED3A2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5C80FD5-B0A5-4689-86DE-1852EE50F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24880000000002</c:v>
                </c:pt>
                <c:pt idx="1">
                  <c:v>84.300399999999996</c:v>
                </c:pt>
              </c:numCache>
            </c:numRef>
          </c:xVal>
          <c:yVal>
            <c:numRef>
              <c:f>Sheet1!$B$2:$B$3</c:f>
              <c:numCache>
                <c:formatCode>General</c:formatCode>
                <c:ptCount val="2"/>
                <c:pt idx="0">
                  <c:v>1.1060000000000001</c:v>
                </c:pt>
                <c:pt idx="1">
                  <c:v>0.499</c:v>
                </c:pt>
              </c:numCache>
            </c:numRef>
          </c:yVal>
          <c:bubbleSize>
            <c:numRef>
              <c:f>Sheet1!$C$2:$C$3</c:f>
              <c:numCache>
                <c:formatCode>General</c:formatCode>
                <c:ptCount val="2"/>
                <c:pt idx="0">
                  <c:v>15642972</c:v>
                </c:pt>
                <c:pt idx="1">
                  <c:v>2486271</c:v>
                </c:pt>
              </c:numCache>
            </c:numRef>
          </c:bubbleSize>
          <c:bubble3D val="0"/>
          <c:extLst>
            <c:ext xmlns:c15="http://schemas.microsoft.com/office/drawing/2012/chart" uri="{02D57815-91ED-43cb-92C2-25804820EDAC}">
              <c15:datalabelsRange>
                <c15:f>Sheet1!$E$2:$E$10</c15:f>
                <c15:dlblRangeCache>
                  <c:ptCount val="9"/>
                  <c:pt idx="0">
                    <c:v>Edgewell</c:v>
                  </c:pt>
                  <c:pt idx="1">
                    <c:v>Total Care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9"/>
          <c:min val="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4F7DC2-8BC5-4256-BA2D-7E62461614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455F20D-937F-4FF4-B130-265D9875D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D4D9CD0-8A84-41D8-88B5-06235252D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2D86AF2-3074-4C1A-926B-F2F2F84F3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31C6190-0FDB-4A9C-9CCE-80F03E0E0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DBAAEA9-F25C-41B1-BF52-86DF7F9389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81D1110-DB99-4953-A717-5C0A1B748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14B59CC-4F9E-40F2-8A11-53E0789F6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31.55609999999999</c:v>
                </c:pt>
              </c:numCache>
            </c:numRef>
          </c:xVal>
          <c:yVal>
            <c:numRef>
              <c:f>Sheet1!$B$2:$B$2</c:f>
              <c:numCache>
                <c:formatCode>General</c:formatCode>
                <c:ptCount val="1"/>
                <c:pt idx="0">
                  <c:v>1.0009999999999999</c:v>
                </c:pt>
              </c:numCache>
            </c:numRef>
          </c:yVal>
          <c:bubbleSize>
            <c:numRef>
              <c:f>Sheet1!$C$2:$C$2</c:f>
              <c:numCache>
                <c:formatCode>General</c:formatCode>
                <c:ptCount val="1"/>
                <c:pt idx="0">
                  <c:v>32162210</c:v>
                </c:pt>
              </c:numCache>
            </c:numRef>
          </c:bubbleSize>
          <c:bubble3D val="0"/>
          <c:extLst>
            <c:ext xmlns:c15="http://schemas.microsoft.com/office/drawing/2012/chart" uri="{02D57815-91ED-43cb-92C2-25804820EDAC}">
              <c15:datalabelsRange>
                <c15:f>Sheet1!$E$2:$E$10</c15:f>
                <c15:dlblRangeCache>
                  <c:ptCount val="9"/>
                  <c:pt idx="0">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8"/>
          <c:min val="18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D4D3F5B-6A36-4972-914B-5F1392D850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DDEEBB72-78F9-400B-A56C-ED852900C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FE07DA9-32B5-4249-9A3E-F78C3ECFC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D25A0EC-4F94-48AA-80BE-ABADC483D1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30FD425-CD0D-4647-9587-79579A6E7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F564A0E-A0B1-4BD3-8ED5-BBF70E6A25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57A3033-FB8D-4FC2-B0B9-28EEB35E9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33863DF-4A6C-4F5C-9A65-FBD47197A7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5.6639</c:v>
                </c:pt>
              </c:numCache>
            </c:numRef>
          </c:xVal>
          <c:yVal>
            <c:numRef>
              <c:f>Sheet1!$B$2:$B$2</c:f>
              <c:numCache>
                <c:formatCode>General</c:formatCode>
                <c:ptCount val="1"/>
                <c:pt idx="0">
                  <c:v>0.998</c:v>
                </c:pt>
              </c:numCache>
            </c:numRef>
          </c:yVal>
          <c:bubbleSize>
            <c:numRef>
              <c:f>Sheet1!$C$2:$C$2</c:f>
              <c:numCache>
                <c:formatCode>General</c:formatCode>
                <c:ptCount val="1"/>
                <c:pt idx="0">
                  <c:v>9707911</c:v>
                </c:pt>
              </c:numCache>
            </c:numRef>
          </c:bubbleSize>
          <c:bubble3D val="0"/>
          <c:extLst>
            <c:ext xmlns:c15="http://schemas.microsoft.com/office/drawing/2012/chart" uri="{02D57815-91ED-43cb-92C2-25804820EDAC}">
              <c15:datalabelsRange>
                <c15:f>Sheet1!$E$2:$E$10</c15:f>
                <c15:dlblRangeCache>
                  <c:ptCount val="9"/>
                  <c:pt idx="0">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1"/>
          <c:min val="10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37C730-3790-4963-B989-303F896F5A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895F0181-2565-4E43-B2C9-6B29169E6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367359B-DFB1-4764-8F54-A962E1EF3E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59A6486-3544-4B22-8BEB-9E0CE8B99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D716B9B-00D0-47F8-98B8-6C9B16AE0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40C8E08-65C0-49E1-A321-47628E513A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D21D3EA-0F4C-4097-BD0F-A43F5D861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AC035F5-12D8-4E0B-B9D0-1278D9607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68.09210000000002</c:v>
                </c:pt>
              </c:numCache>
            </c:numRef>
          </c:xVal>
          <c:yVal>
            <c:numRef>
              <c:f>Sheet1!$B$2:$B$2</c:f>
              <c:numCache>
                <c:formatCode>General</c:formatCode>
                <c:ptCount val="1"/>
                <c:pt idx="0">
                  <c:v>1</c:v>
                </c:pt>
              </c:numCache>
            </c:numRef>
          </c:yVal>
          <c:bubbleSize>
            <c:numRef>
              <c:f>Sheet1!$C$2:$C$2</c:f>
              <c:numCache>
                <c:formatCode>General</c:formatCode>
                <c:ptCount val="1"/>
                <c:pt idx="0">
                  <c:v>238602</c:v>
                </c:pt>
              </c:numCache>
            </c:numRef>
          </c:bubbleSize>
          <c:bubble3D val="0"/>
          <c:extLst>
            <c:ext xmlns:c15="http://schemas.microsoft.com/office/drawing/2012/chart" uri="{02D57815-91ED-43cb-92C2-25804820EDAC}">
              <c15:datalabelsRange>
                <c15:f>Sheet1!$E$2:$E$10</c15:f>
                <c15:dlblRangeCache>
                  <c:ptCount val="9"/>
                  <c:pt idx="0">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2"/>
          <c:min val="2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955276-2D49-43DD-AE0B-2E3954021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E6DD73A-B005-414E-B1F7-52588429C5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B58D693-C88A-48D0-A3CE-D397F3C0A9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AFB745C-8A5F-4A5F-A359-E8FA0D2630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C97BBA5-6E0A-4ED5-9722-8A1AC8263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F59B778-F1D7-450B-958D-917953AAA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F26779A-8B92-4375-8A6E-42B9A4E8E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B65E441-29DE-4C7B-B417-AB7B36654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55.08360000000005</c:v>
                </c:pt>
              </c:numCache>
            </c:numRef>
          </c:xVal>
          <c:yVal>
            <c:numRef>
              <c:f>Sheet1!$B$2:$B$2</c:f>
              <c:numCache>
                <c:formatCode>General</c:formatCode>
                <c:ptCount val="1"/>
                <c:pt idx="0">
                  <c:v>1</c:v>
                </c:pt>
              </c:numCache>
            </c:numRef>
          </c:yVal>
          <c:bubbleSize>
            <c:numRef>
              <c:f>Sheet1!$C$2:$C$2</c:f>
              <c:numCache>
                <c:formatCode>General</c:formatCode>
                <c:ptCount val="1"/>
                <c:pt idx="0">
                  <c:v>12418886</c:v>
                </c:pt>
              </c:numCache>
            </c:numRef>
          </c:bubbleSize>
          <c:bubble3D val="0"/>
          <c:extLst>
            <c:ext xmlns:c15="http://schemas.microsoft.com/office/drawing/2012/chart" uri="{02D57815-91ED-43cb-92C2-25804820EDAC}">
              <c15:datalabelsRange>
                <c15:f>Sheet1!$E$2:$E$10</c15:f>
                <c15:dlblRangeCache>
                  <c:ptCount val="9"/>
                  <c:pt idx="0">
                    <c:v>If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6"/>
          <c:min val="44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60A9C9A-9BAA-432E-85F4-C5E4136232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7FC7729-FE8C-410B-83E9-E4171D6BD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D6DA40B8-13C5-4471-B2C3-1BB312F75A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0A4BFEA7-65BD-43EC-A653-F25DCF1E68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C000ACDD-3ABD-4946-908D-045DD91C7A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691BFC77-A15D-47B0-AD22-2A8966590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C2D2FCDD-43A8-414E-8E75-2F16DEA42D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330AB796-B185-4C5F-B575-BD8B99CAF9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01.1328</c:v>
                </c:pt>
                <c:pt idx="1">
                  <c:v>276.9074</c:v>
                </c:pt>
              </c:numCache>
            </c:numRef>
          </c:xVal>
          <c:yVal>
            <c:numRef>
              <c:f>Sheet1!$B$2:$B$3</c:f>
              <c:numCache>
                <c:formatCode>General</c:formatCode>
                <c:ptCount val="2"/>
                <c:pt idx="0">
                  <c:v>0.97399999999999998</c:v>
                </c:pt>
                <c:pt idx="1">
                  <c:v>1.0740000000000001</c:v>
                </c:pt>
              </c:numCache>
            </c:numRef>
          </c:yVal>
          <c:bubbleSize>
            <c:numRef>
              <c:f>Sheet1!$C$2:$C$3</c:f>
              <c:numCache>
                <c:formatCode>General</c:formatCode>
                <c:ptCount val="2"/>
                <c:pt idx="0">
                  <c:v>77253107</c:v>
                </c:pt>
                <c:pt idx="1">
                  <c:v>30236346</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2"/>
          <c:min val="16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97D482-0BC8-4659-9812-79507EA7B9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EC3483E-BD53-4985-8B0D-6BF9639301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33675D-9EA4-4BF1-95B8-41299AEB66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001C26C-F200-4199-8F2E-392491B80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19255F1-192D-4C65-AADC-9B7D3E1B7A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ED5F9C2-C40F-4B7B-A96C-1B66D90FA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06EB70A-5361-4450-A634-CBE18E8430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35E72A7-8986-422D-AD50-F3B163ADA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42.5838</c:v>
                </c:pt>
                <c:pt idx="1">
                  <c:v>231.73750000000001</c:v>
                </c:pt>
                <c:pt idx="2">
                  <c:v>96.877300000000005</c:v>
                </c:pt>
                <c:pt idx="3">
                  <c:v>71.466800000000006</c:v>
                </c:pt>
              </c:numCache>
            </c:numRef>
          </c:xVal>
          <c:yVal>
            <c:numRef>
              <c:f>Sheet1!$B$2:$B$5</c:f>
              <c:numCache>
                <c:formatCode>General</c:formatCode>
                <c:ptCount val="4"/>
                <c:pt idx="0">
                  <c:v>2.4159999999999999</c:v>
                </c:pt>
                <c:pt idx="1">
                  <c:v>0.89600000000000002</c:v>
                </c:pt>
                <c:pt idx="2">
                  <c:v>0.71699999999999997</c:v>
                </c:pt>
                <c:pt idx="3">
                  <c:v>0.49199999999999999</c:v>
                </c:pt>
              </c:numCache>
            </c:numRef>
          </c:yVal>
          <c:bubbleSize>
            <c:numRef>
              <c:f>Sheet1!$C$2:$C$5</c:f>
              <c:numCache>
                <c:formatCode>General</c:formatCode>
                <c:ptCount val="4"/>
                <c:pt idx="0">
                  <c:v>3097552</c:v>
                </c:pt>
                <c:pt idx="1">
                  <c:v>1431906</c:v>
                </c:pt>
                <c:pt idx="2">
                  <c:v>1076307</c:v>
                </c:pt>
                <c:pt idx="3">
                  <c:v>835876</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Inds.Lavin De Mexico</c:v>
                  </c:pt>
                  <c:pt idx="3">
                    <c:v>Total Care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1"/>
          <c:min val="5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C4130B-71CE-4246-8002-BF4496688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87F04FF5-B947-4587-9F22-00258BE0FF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14E2E7E-8660-46AC-BFC4-E5C2B34F8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5B30C83-1516-48DD-83D6-808F918026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CCE96E6-D599-4C21-AB2F-1BA90805F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CDD57C5-1F78-4FD9-9856-3D4D7CA59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AFAAE26-CFB1-4490-BBA2-75F3A10FC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6271336-FC0E-4EB8-AF12-CCB27CCE5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77.00709999999998</c:v>
                </c:pt>
              </c:numCache>
            </c:numRef>
          </c:xVal>
          <c:yVal>
            <c:numRef>
              <c:f>Sheet1!$B$2:$B$2</c:f>
              <c:numCache>
                <c:formatCode>General</c:formatCode>
                <c:ptCount val="1"/>
                <c:pt idx="0">
                  <c:v>1</c:v>
                </c:pt>
              </c:numCache>
            </c:numRef>
          </c:yVal>
          <c:bubbleSize>
            <c:numRef>
              <c:f>Sheet1!$C$2:$C$2</c:f>
              <c:numCache>
                <c:formatCode>General</c:formatCode>
                <c:ptCount val="1"/>
                <c:pt idx="0">
                  <c:v>1204704</c:v>
                </c:pt>
              </c:numCache>
            </c:numRef>
          </c:bubbleSize>
          <c:bubble3D val="0"/>
          <c:extLst>
            <c:ext xmlns:c15="http://schemas.microsoft.com/office/drawing/2012/chart" uri="{02D57815-91ED-43cb-92C2-25804820EDAC}">
              <c15:datalabelsRange>
                <c15:f>Sheet1!$E$2:$E$10</c15:f>
                <c15:dlblRangeCache>
                  <c:ptCount val="9"/>
                  <c:pt idx="0">
                    <c:v>Beiersdorf</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2"/>
          <c:min val="2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1EAB846-0E23-42EB-B76A-5FECE626D2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86E33B-E9B0-4284-B3B6-6E7244153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495D0F7-FB29-4901-85DD-C0881D8D5D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78336F3-7176-47E2-AE0D-CC86B2911F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DC59CE6-1CBF-414A-AE4F-ACDAC60A2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2B55985-ADA9-4B0D-B95C-70BAB09B8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B148ED7-0F5B-44E4-BA1E-4C9FA2F69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73A9B54-C21B-47FC-A685-F9C42C72FB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90.7534</c:v>
                </c:pt>
                <c:pt idx="1">
                  <c:v>134.85499999999999</c:v>
                </c:pt>
              </c:numCache>
            </c:numRef>
          </c:xVal>
          <c:yVal>
            <c:numRef>
              <c:f>Sheet1!$B$2:$B$3</c:f>
              <c:numCache>
                <c:formatCode>General</c:formatCode>
                <c:ptCount val="2"/>
                <c:pt idx="0">
                  <c:v>1.002</c:v>
                </c:pt>
                <c:pt idx="1">
                  <c:v>0.97199999999999998</c:v>
                </c:pt>
              </c:numCache>
            </c:numRef>
          </c:yVal>
          <c:bubbleSize>
            <c:numRef>
              <c:f>Sheet1!$C$2:$C$3</c:f>
              <c:numCache>
                <c:formatCode>General</c:formatCode>
                <c:ptCount val="2"/>
                <c:pt idx="0">
                  <c:v>4361194</c:v>
                </c:pt>
                <c:pt idx="1">
                  <c:v>522833</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9"/>
          <c:min val="10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84CCE9-B4E3-48EB-BF4D-52D39EA19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9E6127-5273-4E6F-AD6E-3D43ED839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BF13BE7-803B-47CC-9E0D-9B8487543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427738B-66C1-47F9-B3D7-FB8F59090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CE04955-C34D-44AD-BC52-9E802B1E38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65F6A70-6AE5-4B3B-A8AD-61BBABFE0C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8A30B0C-3B59-43E3-89BA-DD93BE3E3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418E916-D894-40C7-86E4-984FEBA46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65.83749999999998</c:v>
                </c:pt>
                <c:pt idx="1">
                  <c:v>350.61860000000001</c:v>
                </c:pt>
              </c:numCache>
            </c:numRef>
          </c:xVal>
          <c:yVal>
            <c:numRef>
              <c:f>Sheet1!$B$2:$B$3</c:f>
              <c:numCache>
                <c:formatCode>General</c:formatCode>
                <c:ptCount val="2"/>
                <c:pt idx="0">
                  <c:v>1.0169999999999999</c:v>
                </c:pt>
                <c:pt idx="1">
                  <c:v>0.86699999999999999</c:v>
                </c:pt>
              </c:numCache>
            </c:numRef>
          </c:yVal>
          <c:bubbleSize>
            <c:numRef>
              <c:f>Sheet1!$C$2:$C$3</c:f>
              <c:numCache>
                <c:formatCode>General</c:formatCode>
                <c:ptCount val="2"/>
                <c:pt idx="0">
                  <c:v>310764</c:v>
                </c:pt>
                <c:pt idx="1">
                  <c:v>34010</c:v>
                </c:pt>
              </c:numCache>
            </c:numRef>
          </c:bubbleSize>
          <c:bubble3D val="0"/>
          <c:extLst>
            <c:ext xmlns:c15="http://schemas.microsoft.com/office/drawing/2012/chart" uri="{02D57815-91ED-43cb-92C2-25804820EDAC}">
              <c15:datalabelsRange>
                <c15:f>Sheet1!$E$2:$E$10</c15:f>
                <c15:dlblRangeCache>
                  <c:ptCount val="9"/>
                  <c:pt idx="0">
                    <c:v>Edgewell</c:v>
                  </c:pt>
                  <c:pt idx="1">
                    <c:v>J&amp;J</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1"/>
          <c:min val="21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08C3F6-E1B4-4B46-84FA-13A6AD9BEA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0BED8BAD-63E7-4C69-B431-4F953E40C1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BFEFCDA-DA90-4CB4-987B-CAA91A2A3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393E5ED-585B-401A-B462-BFB75AB416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17BA0FD-FAA2-47FB-BBAC-C9524E5E1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64CFF8B-867C-4EF7-9E44-1971606CE0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2AA831C-17CE-4D01-A033-A69B617708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96F1D04-6FD1-4B10-A745-9B7B02A53B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45.64230000000001</c:v>
                </c:pt>
              </c:numCache>
            </c:numRef>
          </c:xVal>
          <c:yVal>
            <c:numRef>
              <c:f>Sheet1!$B$2:$B$2</c:f>
              <c:numCache>
                <c:formatCode>General</c:formatCode>
                <c:ptCount val="1"/>
                <c:pt idx="0">
                  <c:v>1</c:v>
                </c:pt>
              </c:numCache>
            </c:numRef>
          </c:yVal>
          <c:bubbleSize>
            <c:numRef>
              <c:f>Sheet1!$C$2:$C$2</c:f>
              <c:numCache>
                <c:formatCode>General</c:formatCode>
                <c:ptCount val="1"/>
                <c:pt idx="0">
                  <c:v>90642</c:v>
                </c:pt>
              </c:numCache>
            </c:numRef>
          </c:bubbleSize>
          <c:bubble3D val="0"/>
          <c:extLst>
            <c:ext xmlns:c15="http://schemas.microsoft.com/office/drawing/2012/chart" uri="{02D57815-91ED-43cb-92C2-25804820EDAC}">
              <c15:datalabelsRange>
                <c15:f>Sheet1!$E$2:$E$10</c15:f>
                <c15:dlblRangeCache>
                  <c:ptCount val="9"/>
                  <c:pt idx="0">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5"/>
          <c:min val="19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2F4871-93AA-40B9-9B2B-F46C14D0F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168BEB-4CCC-43E0-952F-053E9AC44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D2B29A7-64B4-4160-9A01-A747F3D45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4C19330-39B1-4D4D-B73E-CB50437E03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3B9B486-334B-4B3F-B8C7-CF6461F4E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1663365-C857-4D36-A131-79C7C62ED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9FEEF20-2E33-4F43-9442-947965B46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AE824D5-6127-4441-BB44-5E39EC0C0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427.95409999999998</c:v>
                </c:pt>
                <c:pt idx="1">
                  <c:v>291.05380000000002</c:v>
                </c:pt>
                <c:pt idx="2">
                  <c:v>195.04</c:v>
                </c:pt>
                <c:pt idx="3">
                  <c:v>160.56739999999999</c:v>
                </c:pt>
              </c:numCache>
            </c:numRef>
          </c:xVal>
          <c:yVal>
            <c:numRef>
              <c:f>Sheet1!$B$2:$B$5</c:f>
              <c:numCache>
                <c:formatCode>General</c:formatCode>
                <c:ptCount val="4"/>
                <c:pt idx="0">
                  <c:v>4.1500000000000004</c:v>
                </c:pt>
                <c:pt idx="1">
                  <c:v>1.1120000000000001</c:v>
                </c:pt>
                <c:pt idx="2">
                  <c:v>0.65400000000000003</c:v>
                </c:pt>
                <c:pt idx="3">
                  <c:v>0.253</c:v>
                </c:pt>
              </c:numCache>
            </c:numRef>
          </c:yVal>
          <c:bubbleSize>
            <c:numRef>
              <c:f>Sheet1!$C$2:$C$5</c:f>
              <c:numCache>
                <c:formatCode>General</c:formatCode>
                <c:ptCount val="4"/>
                <c:pt idx="0">
                  <c:v>1947191</c:v>
                </c:pt>
                <c:pt idx="1">
                  <c:v>400490</c:v>
                </c:pt>
                <c:pt idx="2">
                  <c:v>121900</c:v>
                </c:pt>
                <c:pt idx="3">
                  <c:v>57162</c:v>
                </c:pt>
              </c:numCache>
            </c:numRef>
          </c:bubbleSize>
          <c:bubble3D val="0"/>
          <c:extLst>
            <c:ext xmlns:c15="http://schemas.microsoft.com/office/drawing/2012/chart" uri="{02D57815-91ED-43cb-92C2-25804820EDAC}">
              <c15:datalabelsRange>
                <c15:f>Sheet1!$E$2:$E$10</c15:f>
                <c15:dlblRangeCache>
                  <c:ptCount val="9"/>
                  <c:pt idx="0">
                    <c:v>Isdin</c:v>
                  </c:pt>
                  <c:pt idx="1">
                    <c:v>Glaxosmithkline</c:v>
                  </c:pt>
                  <c:pt idx="2">
                    <c:v>J&amp;J</c:v>
                  </c:pt>
                  <c:pt idx="3">
                    <c:v>Genomma Lab.</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4"/>
          <c:min val="1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4902442-0D43-4E3D-9E3B-906409BE1C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5BA934B-1CD5-4BB0-91AB-FD21729B55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63A5AB3-6F38-4ABA-9BF2-239B4E33F7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FF3DFED-5F69-4E45-B8F7-D5D1C91295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A883512-1E0D-48C1-9478-7C2E3A7168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4645F19-49C6-4ED9-AE9F-C2CA7EA47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BD20230-D6B5-4C7E-8B51-363ED1C56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554A764-344B-47D0-B9C4-CA2A6B184F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650.38699999999994</c:v>
                </c:pt>
              </c:numCache>
            </c:numRef>
          </c:xVal>
          <c:yVal>
            <c:numRef>
              <c:f>Sheet1!$B$2:$B$2</c:f>
              <c:numCache>
                <c:formatCode>General</c:formatCode>
                <c:ptCount val="1"/>
                <c:pt idx="0">
                  <c:v>1</c:v>
                </c:pt>
              </c:numCache>
            </c:numRef>
          </c:yVal>
          <c:bubbleSize>
            <c:numRef>
              <c:f>Sheet1!$C$2:$C$2</c:f>
              <c:numCache>
                <c:formatCode>General</c:formatCode>
                <c:ptCount val="1"/>
                <c:pt idx="0">
                  <c:v>290723</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0"/>
          <c:min val="5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149920-834A-41B4-A159-C3C67690D6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03B3846-1361-49ED-A913-E58E8DC549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07A79E0-865E-4CAA-8233-49BD862F2C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BE74FC5-5561-4BDC-9547-D5034F0CD3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678DD5B-2FCB-4DCD-8FB0-3BD0CF1A6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9E56467-EEB0-4578-9924-B8BE07105C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99DDF6C-7353-4CEF-BC08-EC450A696D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9DEC63A-AD35-468F-AF80-D16D1B7A05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65.66890000000001</c:v>
                </c:pt>
              </c:numCache>
            </c:numRef>
          </c:xVal>
          <c:yVal>
            <c:numRef>
              <c:f>Sheet1!$B$2:$B$2</c:f>
              <c:numCache>
                <c:formatCode>General</c:formatCode>
                <c:ptCount val="1"/>
                <c:pt idx="0">
                  <c:v>1</c:v>
                </c:pt>
              </c:numCache>
            </c:numRef>
          </c:yVal>
          <c:bubbleSize>
            <c:numRef>
              <c:f>Sheet1!$C$2:$C$2</c:f>
              <c:numCache>
                <c:formatCode>General</c:formatCode>
                <c:ptCount val="1"/>
                <c:pt idx="0">
                  <c:v>682205</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59"/>
          <c:min val="37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771610-022A-4DC8-978D-A77629E963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4B7AA3-80D5-4F77-BB38-3938D5FFD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EED4890-BB55-44A8-9BD1-349FDE723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5CA8FF0-F9D2-43D4-A8B3-882C7F977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01C3024-A68E-43B5-A601-15E52D994B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1B735B6-A1F8-470E-9ED7-238E34370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1F74524-DEC4-44FF-BE03-5E5438FE86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6E8F9A7-83C9-40F0-B15C-F18BADFE1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481.0222</c:v>
                </c:pt>
                <c:pt idx="1">
                  <c:v>173.14</c:v>
                </c:pt>
              </c:numCache>
            </c:numRef>
          </c:xVal>
          <c:yVal>
            <c:numRef>
              <c:f>Sheet1!$B$2:$B$3</c:f>
              <c:numCache>
                <c:formatCode>General</c:formatCode>
                <c:ptCount val="2"/>
                <c:pt idx="0">
                  <c:v>0.95199999999999996</c:v>
                </c:pt>
                <c:pt idx="1">
                  <c:v>1.143</c:v>
                </c:pt>
              </c:numCache>
            </c:numRef>
          </c:yVal>
          <c:bubbleSize>
            <c:numRef>
              <c:f>Sheet1!$C$2:$C$3</c:f>
              <c:numCache>
                <c:formatCode>General</c:formatCode>
                <c:ptCount val="2"/>
                <c:pt idx="0">
                  <c:v>21646</c:v>
                </c:pt>
                <c:pt idx="1">
                  <c:v>8657</c:v>
                </c:pt>
              </c:numCache>
            </c:numRef>
          </c:bubbleSize>
          <c:bubble3D val="0"/>
          <c:extLst>
            <c:ext xmlns:c15="http://schemas.microsoft.com/office/drawing/2012/chart" uri="{02D57815-91ED-43cb-92C2-25804820EDAC}">
              <c15:datalabelsRange>
                <c15:f>Sheet1!$E$2:$E$10</c15:f>
                <c15:dlblRangeCache>
                  <c:ptCount val="9"/>
                  <c:pt idx="0">
                    <c:v>Beiersdorf</c:v>
                  </c:pt>
                  <c:pt idx="1">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77"/>
          <c:min val="13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D1F4B2-E87A-428E-9583-546187C2D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CF88A1-0037-4BBA-8FFC-7E2E3CA097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C37D863-FFAA-41B3-A28C-245452EBA8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A9C1824-CC35-4001-A532-7E1832688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8E947FD-FC95-4705-9AAF-738487896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9DA17FD-3031-4891-BE30-45EF78661D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B419167-4A28-4857-A6DE-CAB77A688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9C570FC-A00A-4C89-8B20-31A63CA735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0.287499999999994</c:v>
                </c:pt>
                <c:pt idx="1">
                  <c:v>262.4024</c:v>
                </c:pt>
                <c:pt idx="2">
                  <c:v>100.1447</c:v>
                </c:pt>
              </c:numCache>
            </c:numRef>
          </c:xVal>
          <c:yVal>
            <c:numRef>
              <c:f>Sheet1!$B$2:$B$4</c:f>
              <c:numCache>
                <c:formatCode>General</c:formatCode>
                <c:ptCount val="3"/>
                <c:pt idx="0">
                  <c:v>0.89300000000000002</c:v>
                </c:pt>
                <c:pt idx="1">
                  <c:v>1.7010000000000001</c:v>
                </c:pt>
                <c:pt idx="2">
                  <c:v>0.83199999999999996</c:v>
                </c:pt>
              </c:numCache>
            </c:numRef>
          </c:yVal>
          <c:bubbleSize>
            <c:numRef>
              <c:f>Sheet1!$C$2:$C$4</c:f>
              <c:numCache>
                <c:formatCode>General</c:formatCode>
                <c:ptCount val="3"/>
                <c:pt idx="0">
                  <c:v>634833</c:v>
                </c:pt>
                <c:pt idx="1">
                  <c:v>194965</c:v>
                </c:pt>
                <c:pt idx="2">
                  <c:v>22833</c:v>
                </c:pt>
              </c:numCache>
            </c:numRef>
          </c:bubbleSize>
          <c:bubble3D val="0"/>
          <c:extLst>
            <c:ext xmlns:c15="http://schemas.microsoft.com/office/drawing/2012/chart" uri="{02D57815-91ED-43cb-92C2-25804820EDAC}">
              <c15:datalabelsRange>
                <c15:f>Sheet1!$E$2:$E$10</c15:f>
                <c15:dlblRangeCache>
                  <c:ptCount val="9"/>
                  <c:pt idx="0">
                    <c:v>Total Care De Mexico</c:v>
                  </c:pt>
                  <c:pt idx="1">
                    <c:v>Edgewell</c:v>
                  </c:pt>
                  <c:pt idx="2">
                    <c:v>Bayer Consumer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5"/>
          <c:min val="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4080D852-35C9-4A0A-97BF-5A7EEF4FDD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2D033EAD-CA42-402C-8A2A-9EB5A959AF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B09AC3CF-028B-4C76-8519-94735709D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233F3704-5342-4D46-B3EC-F31BE8DA17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BE5F0715-1E55-454D-BDED-B393FE090B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5EA6874A-E5FD-422D-B5B5-2A2733272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D1099C34-44A4-4264-B2FB-A1F3A893C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117E03FC-D0D3-449D-A97D-619F51B6A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90.02770000000001</c:v>
                </c:pt>
              </c:numCache>
            </c:numRef>
          </c:xVal>
          <c:yVal>
            <c:numRef>
              <c:f>Sheet1!$B$2:$B$2</c:f>
              <c:numCache>
                <c:formatCode>General</c:formatCode>
                <c:ptCount val="1"/>
                <c:pt idx="0">
                  <c:v>1.008</c:v>
                </c:pt>
              </c:numCache>
            </c:numRef>
          </c:yVal>
          <c:bubbleSize>
            <c:numRef>
              <c:f>Sheet1!$C$2:$C$2</c:f>
              <c:numCache>
                <c:formatCode>General</c:formatCode>
                <c:ptCount val="1"/>
                <c:pt idx="0">
                  <c:v>31788031</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8"/>
          <c:min val="15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FAB09D-154D-40E5-A8FC-FECD55326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65FE65C-7667-462D-B2AD-A37813876A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09E8C45-4F2F-4BE1-9AE4-DE0CB8FB7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629F695-A85D-4566-AA0A-E427B11DD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8EA24A3-ED83-4F9C-AE54-2E6A3F114E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EBC2551-867D-4CF5-B944-0335BCF00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774F78D-F578-4BDF-B25F-011D8D500B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05A198E-620A-46DB-A3AA-800315873A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51.3878</c:v>
                </c:pt>
              </c:numCache>
            </c:numRef>
          </c:xVal>
          <c:yVal>
            <c:numRef>
              <c:f>Sheet1!$B$2:$B$2</c:f>
              <c:numCache>
                <c:formatCode>General</c:formatCode>
                <c:ptCount val="1"/>
                <c:pt idx="0">
                  <c:v>1</c:v>
                </c:pt>
              </c:numCache>
            </c:numRef>
          </c:yVal>
          <c:bubbleSize>
            <c:numRef>
              <c:f>Sheet1!$C$2:$C$2</c:f>
              <c:numCache>
                <c:formatCode>General</c:formatCode>
                <c:ptCount val="1"/>
                <c:pt idx="0">
                  <c:v>430547</c:v>
                </c:pt>
              </c:numCache>
            </c:numRef>
          </c:bubbleSize>
          <c:bubble3D val="0"/>
          <c:extLst>
            <c:ext xmlns:c15="http://schemas.microsoft.com/office/drawing/2012/chart" uri="{02D57815-91ED-43cb-92C2-25804820EDAC}">
              <c15:datalabelsRange>
                <c15:f>Sheet1!$E$2:$E$10</c15:f>
                <c15:dlblRangeCache>
                  <c:ptCount val="9"/>
                  <c:pt idx="0">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2"/>
          <c:min val="1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B189364-C73E-4D50-A915-E3FE59DFAB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D6D10DB-4CEF-4A45-BDFE-8555F1960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1536D6F-30F5-4543-AAC1-AAE733687C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56F1212-3491-424D-B90A-AC0528E6F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CC722D5-B1E9-434E-A6D3-002E1B5865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B96342A-F9AE-4D99-97DF-86CFE6668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387BDBE-BFAA-4A0B-948A-103C61CE8C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9C82E26-BEB8-451A-9F53-FFE0B6C99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17.09649999999999</c:v>
                </c:pt>
                <c:pt idx="1">
                  <c:v>188.4854</c:v>
                </c:pt>
              </c:numCache>
            </c:numRef>
          </c:xVal>
          <c:yVal>
            <c:numRef>
              <c:f>Sheet1!$B$2:$B$3</c:f>
              <c:numCache>
                <c:formatCode>General</c:formatCode>
                <c:ptCount val="2"/>
                <c:pt idx="0">
                  <c:v>1.1040000000000001</c:v>
                </c:pt>
                <c:pt idx="1">
                  <c:v>0.83199999999999996</c:v>
                </c:pt>
              </c:numCache>
            </c:numRef>
          </c:yVal>
          <c:bubbleSize>
            <c:numRef>
              <c:f>Sheet1!$C$2:$C$3</c:f>
              <c:numCache>
                <c:formatCode>General</c:formatCode>
                <c:ptCount val="2"/>
                <c:pt idx="0">
                  <c:v>206893</c:v>
                </c:pt>
                <c:pt idx="1">
                  <c:v>51645</c:v>
                </c:pt>
              </c:numCache>
            </c:numRef>
          </c:bubbleSize>
          <c:bubble3D val="0"/>
          <c:extLst>
            <c:ext xmlns:c15="http://schemas.microsoft.com/office/drawing/2012/chart" uri="{02D57815-91ED-43cb-92C2-25804820EDAC}">
              <c15:datalabelsRange>
                <c15:f>Sheet1!$E$2:$E$10</c15:f>
                <c15:dlblRangeCache>
                  <c:ptCount val="9"/>
                  <c:pt idx="0">
                    <c:v>Edgewell</c:v>
                  </c:pt>
                  <c:pt idx="1">
                    <c:v>Bayer Consumer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1"/>
          <c:min val="15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EDB233-67B1-43FB-BA85-436625A6F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021A27-E03E-4E2A-BA7D-E22158274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6FD0EA-5462-4BEE-99CE-ED941FB137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516C808-F5EF-4CC4-B716-427CD53593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9A1D01C-A53E-457E-9008-2370D69DD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C9ACF8F-AE40-457D-B87B-5A3DC7A6FE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890C87E-AEB9-40F1-AD54-3F1FA7031B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43E3769-88B1-4104-921C-CFBF796263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3.6815</c:v>
                </c:pt>
                <c:pt idx="1">
                  <c:v>236.49539999999999</c:v>
                </c:pt>
                <c:pt idx="2">
                  <c:v>88.988299999999995</c:v>
                </c:pt>
                <c:pt idx="3">
                  <c:v>76.948599999999999</c:v>
                </c:pt>
                <c:pt idx="4">
                  <c:v>185.8261</c:v>
                </c:pt>
              </c:numCache>
            </c:numRef>
          </c:xVal>
          <c:yVal>
            <c:numRef>
              <c:f>Sheet1!$B$2:$B$6</c:f>
              <c:numCache>
                <c:formatCode>General</c:formatCode>
                <c:ptCount val="5"/>
                <c:pt idx="0">
                  <c:v>1.7609999999999999</c:v>
                </c:pt>
                <c:pt idx="1">
                  <c:v>0.85699999999999998</c:v>
                </c:pt>
                <c:pt idx="2">
                  <c:v>0.51300000000000001</c:v>
                </c:pt>
                <c:pt idx="3">
                  <c:v>0.47399999999999998</c:v>
                </c:pt>
                <c:pt idx="4">
                  <c:v>3.6080000000000001</c:v>
                </c:pt>
              </c:numCache>
            </c:numRef>
          </c:yVal>
          <c:bubbleSize>
            <c:numRef>
              <c:f>Sheet1!$C$2:$C$6</c:f>
              <c:numCache>
                <c:formatCode>General</c:formatCode>
                <c:ptCount val="5"/>
                <c:pt idx="0">
                  <c:v>216369464</c:v>
                </c:pt>
                <c:pt idx="1">
                  <c:v>103991508</c:v>
                </c:pt>
                <c:pt idx="2">
                  <c:v>45800078</c:v>
                </c:pt>
                <c:pt idx="3">
                  <c:v>32892975</c:v>
                </c:pt>
                <c:pt idx="4">
                  <c:v>20689324</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pt idx="2">
                    <c:v>Total Care De Mexico</c:v>
                  </c:pt>
                  <c:pt idx="3">
                    <c:v>Inds.Lavin De Mexico</c:v>
                  </c:pt>
                  <c:pt idx="4">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2"/>
          <c:min val="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B31ECDF-9426-484D-95F8-3AA9FD8CA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1512D2-2E45-454D-AB92-9E3E9905C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58B626F-6280-4126-B178-6F4F1726D4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E1CB9CC-4C9A-4E27-926A-FF8DE567BE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8C60F35-FFA4-44FA-B684-C537149AC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22C168C-D9F1-4EEF-8E11-131FFB272B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62B3DE3-BE6F-49CE-90EF-FC86CDDED3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A151854-E96A-4414-839D-1AF320C8F0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43.3535</c:v>
                </c:pt>
                <c:pt idx="1">
                  <c:v>269.45240000000001</c:v>
                </c:pt>
              </c:numCache>
            </c:numRef>
          </c:xVal>
          <c:yVal>
            <c:numRef>
              <c:f>Sheet1!$B$2:$B$3</c:f>
              <c:numCache>
                <c:formatCode>General</c:formatCode>
                <c:ptCount val="2"/>
                <c:pt idx="0">
                  <c:v>1.0029999999999999</c:v>
                </c:pt>
                <c:pt idx="1">
                  <c:v>0.91100000000000003</c:v>
                </c:pt>
              </c:numCache>
            </c:numRef>
          </c:yVal>
          <c:bubbleSize>
            <c:numRef>
              <c:f>Sheet1!$C$2:$C$3</c:f>
              <c:numCache>
                <c:formatCode>General</c:formatCode>
                <c:ptCount val="2"/>
                <c:pt idx="0">
                  <c:v>11123445</c:v>
                </c:pt>
                <c:pt idx="1">
                  <c:v>676056</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3"/>
          <c:min val="19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C1A4F0-8DDD-4DB0-B667-29CE58FEE9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DA6F546-ACB1-47A4-BAFE-41ED553CF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F78F01C-1C66-4138-BE42-661C15E67E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57065F4-1853-40BD-B758-0E0DAB36A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FFEFCAE-E55A-4F5F-8899-877A4046D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6BC24BF-A8F8-4664-A8E0-FF00EEF253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C16D5C7-D016-4099-AF2D-9E3F4519F1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AC53D75-2AE2-47C5-8443-F2583EE39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58.05040000000002</c:v>
                </c:pt>
              </c:numCache>
            </c:numRef>
          </c:xVal>
          <c:yVal>
            <c:numRef>
              <c:f>Sheet1!$B$2:$B$2</c:f>
              <c:numCache>
                <c:formatCode>General</c:formatCode>
                <c:ptCount val="1"/>
                <c:pt idx="0">
                  <c:v>1</c:v>
                </c:pt>
              </c:numCache>
            </c:numRef>
          </c:yVal>
          <c:bubbleSize>
            <c:numRef>
              <c:f>Sheet1!$C$2:$C$2</c:f>
              <c:numCache>
                <c:formatCode>General</c:formatCode>
                <c:ptCount val="1"/>
                <c:pt idx="0">
                  <c:v>91166125</c:v>
                </c:pt>
              </c:numCache>
            </c:numRef>
          </c:bubbleSize>
          <c:bubble3D val="0"/>
          <c:extLst>
            <c:ext xmlns:c15="http://schemas.microsoft.com/office/drawing/2012/chart" uri="{02D57815-91ED-43cb-92C2-25804820EDAC}">
              <c15:datalabelsRange>
                <c15:f>Sheet1!$E$2:$E$10</c15:f>
                <c15:dlblRangeCache>
                  <c:ptCount val="9"/>
                  <c:pt idx="0">
                    <c:v>Beiersdorf</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0"/>
          <c:min val="20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E5C0E2-5D24-43E3-A8A1-22E164B678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5A25AAD-C08D-41B0-BD22-5E5958E06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7795CDB-E09F-4019-9F48-9DA68927E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93B7439-E69A-4B4B-8844-54EFD3D3CC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9BBB1F6-9AEE-4330-91A8-B88E8EC26F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41B38F9-8654-44EA-B020-58F38F9D85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5328991-79E5-4926-9E49-0E2B40E234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41D9FEF-A129-4083-AD9C-5AEDAD7C7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36.91249999999999</c:v>
                </c:pt>
                <c:pt idx="1">
                  <c:v>194.44110000000001</c:v>
                </c:pt>
              </c:numCache>
            </c:numRef>
          </c:xVal>
          <c:yVal>
            <c:numRef>
              <c:f>Sheet1!$B$2:$B$3</c:f>
              <c:numCache>
                <c:formatCode>General</c:formatCode>
                <c:ptCount val="2"/>
                <c:pt idx="0">
                  <c:v>1.006</c:v>
                </c:pt>
                <c:pt idx="1">
                  <c:v>0.99</c:v>
                </c:pt>
              </c:numCache>
            </c:numRef>
          </c:yVal>
          <c:bubbleSize>
            <c:numRef>
              <c:f>Sheet1!$C$2:$C$3</c:f>
              <c:numCache>
                <c:formatCode>General</c:formatCode>
                <c:ptCount val="2"/>
                <c:pt idx="0">
                  <c:v>204773926</c:v>
                </c:pt>
                <c:pt idx="1">
                  <c:v>178264366</c:v>
                </c:pt>
              </c:numCache>
            </c:numRef>
          </c:bubbleSize>
          <c:bubble3D val="0"/>
          <c:extLst>
            <c:ext xmlns:c15="http://schemas.microsoft.com/office/drawing/2012/chart" uri="{02D57815-91ED-43cb-92C2-25804820EDAC}">
              <c15:datalabelsRange>
                <c15:f>Sheet1!$E$2:$E$10</c15:f>
                <c15:dlblRangeCache>
                  <c:ptCount val="9"/>
                  <c:pt idx="0">
                    <c:v>Beiersdorf</c:v>
                  </c:pt>
                  <c:pt idx="1">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4"/>
          <c:min val="15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5C1FEE-0879-40F1-9A05-9CF248D66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5711211-56CF-4CCB-B556-EA4167178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29ADF9A-4F8F-4C74-ABDC-B272942C30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25410A2-EAEF-40F0-8236-D4D7B2432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A317495-DA14-4AFE-80E8-A037A07A6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D4235DB-CDB8-4424-981A-24F8C8398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42102C4-2AED-47BB-9A64-6F29A1EEF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09FFF23-FC91-405A-8954-9FB364113C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50.3373</c:v>
                </c:pt>
                <c:pt idx="1">
                  <c:v>213.762</c:v>
                </c:pt>
                <c:pt idx="2">
                  <c:v>424.61759999999998</c:v>
                </c:pt>
              </c:numCache>
            </c:numRef>
          </c:xVal>
          <c:yVal>
            <c:numRef>
              <c:f>Sheet1!$B$2:$B$4</c:f>
              <c:numCache>
                <c:formatCode>General</c:formatCode>
                <c:ptCount val="3"/>
                <c:pt idx="0">
                  <c:v>0.98299999999999998</c:v>
                </c:pt>
                <c:pt idx="1">
                  <c:v>1.1160000000000001</c:v>
                </c:pt>
                <c:pt idx="2">
                  <c:v>6.0019999999999998</c:v>
                </c:pt>
              </c:numCache>
            </c:numRef>
          </c:yVal>
          <c:bubbleSize>
            <c:numRef>
              <c:f>Sheet1!$C$2:$C$4</c:f>
              <c:numCache>
                <c:formatCode>General</c:formatCode>
                <c:ptCount val="3"/>
                <c:pt idx="0">
                  <c:v>46575760</c:v>
                </c:pt>
                <c:pt idx="1">
                  <c:v>2052543</c:v>
                </c:pt>
                <c:pt idx="2">
                  <c:v>989359</c:v>
                </c:pt>
              </c:numCache>
            </c:numRef>
          </c:bubbleSize>
          <c:bubble3D val="0"/>
          <c:extLst>
            <c:ext xmlns:c15="http://schemas.microsoft.com/office/drawing/2012/chart" uri="{02D57815-91ED-43cb-92C2-25804820EDAC}">
              <c15:datalabelsRange>
                <c15:f>Sheet1!$E$2:$E$10</c15:f>
                <c15:dlblRangeCache>
                  <c:ptCount val="9"/>
                  <c:pt idx="0">
                    <c:v>Edgewell</c:v>
                  </c:pt>
                  <c:pt idx="1">
                    <c:v>Sun &amp; Skin Care Research</c:v>
                  </c:pt>
                  <c:pt idx="2">
                    <c:v>Labs. Expanscie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0"/>
          <c:min val="17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3077D0-5675-4917-99F0-5044CEEC03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43D334EC-88A3-4348-9F92-CE61C0B56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8803161-EA9D-42F5-B4C9-30EEB8E43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38750A0-8CB7-4C6B-9C5A-872E3111A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A3EF8F7-510D-447C-9A52-7D301BB59C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CB3B1ED-B60D-4CCB-9833-F0F740D97F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7A644DF-0FB2-4D66-86D3-E4949E23F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04E6A1E-4FD7-4570-AE09-3FCF70586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4.67789999999999</c:v>
                </c:pt>
              </c:numCache>
            </c:numRef>
          </c:xVal>
          <c:yVal>
            <c:numRef>
              <c:f>Sheet1!$B$2:$B$2</c:f>
              <c:numCache>
                <c:formatCode>General</c:formatCode>
                <c:ptCount val="1"/>
                <c:pt idx="0">
                  <c:v>1</c:v>
                </c:pt>
              </c:numCache>
            </c:numRef>
          </c:yVal>
          <c:bubbleSize>
            <c:numRef>
              <c:f>Sheet1!$C$2:$C$2</c:f>
              <c:numCache>
                <c:formatCode>General</c:formatCode>
                <c:ptCount val="1"/>
                <c:pt idx="0">
                  <c:v>1562716</c:v>
                </c:pt>
              </c:numCache>
            </c:numRef>
          </c:bubbleSize>
          <c:bubble3D val="0"/>
          <c:extLst>
            <c:ext xmlns:c15="http://schemas.microsoft.com/office/drawing/2012/chart" uri="{02D57815-91ED-43cb-92C2-25804820EDAC}">
              <c15:datalabelsRange>
                <c15:f>Sheet1!$E$2:$E$10</c15:f>
                <c15:dlblRangeCache>
                  <c:ptCount val="9"/>
                  <c:pt idx="0">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6"/>
          <c:min val="1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3190E8-0BFE-41AD-9ED3-450DA7E54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0B3A5A5B-951C-4AD9-96D1-B48D71D06C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E92B06F-CDB7-483B-8782-6FC29A9614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5813977-EF7C-4E37-9804-61F5098B6A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F427380-B45F-4A54-9BFE-BDEDB025E6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541FEFE-394D-4632-8E2A-AD789487B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8708687-F7D0-4066-BC61-ADADB14ED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C80F718-153D-4ED3-97A8-5629E0D27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8.50640000000001</c:v>
                </c:pt>
              </c:numCache>
            </c:numRef>
          </c:xVal>
          <c:yVal>
            <c:numRef>
              <c:f>Sheet1!$B$2:$B$2</c:f>
              <c:numCache>
                <c:formatCode>General</c:formatCode>
                <c:ptCount val="1"/>
                <c:pt idx="0">
                  <c:v>1</c:v>
                </c:pt>
              </c:numCache>
            </c:numRef>
          </c:yVal>
          <c:bubbleSize>
            <c:numRef>
              <c:f>Sheet1!$C$2:$C$2</c:f>
              <c:numCache>
                <c:formatCode>General</c:formatCode>
                <c:ptCount val="1"/>
                <c:pt idx="0">
                  <c:v>9805641</c:v>
                </c:pt>
              </c:numCache>
            </c:numRef>
          </c:bubbleSize>
          <c:bubble3D val="0"/>
          <c:extLst>
            <c:ext xmlns:c15="http://schemas.microsoft.com/office/drawing/2012/chart" uri="{02D57815-91ED-43cb-92C2-25804820EDAC}">
              <c15:datalabelsRange>
                <c15:f>Sheet1!$E$2:$E$10</c15:f>
                <c15:dlblRangeCache>
                  <c:ptCount val="9"/>
                  <c:pt idx="0">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0"/>
          <c:min val="1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067F620-324E-4392-88CA-D8E1CC8885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592E75-80E3-48F7-BDAE-394572C55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855984-3F33-430E-A142-F8845A146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5C9129F-067D-4938-BA64-FF62A3E79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B5D98F7-6B07-4C39-94A7-DF5540401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CCEEB78-1A48-491D-9A0F-8DE9472BC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62A8DC0-4D8C-4710-B68A-DB846C282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65AAA4F-55A7-4B82-89DA-7008C8C44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72.78359999999998</c:v>
                </c:pt>
                <c:pt idx="1">
                  <c:v>351.66789999999997</c:v>
                </c:pt>
                <c:pt idx="2">
                  <c:v>322.3177</c:v>
                </c:pt>
                <c:pt idx="3">
                  <c:v>408.41359999999997</c:v>
                </c:pt>
              </c:numCache>
            </c:numRef>
          </c:xVal>
          <c:yVal>
            <c:numRef>
              <c:f>Sheet1!$B$2:$B$5</c:f>
              <c:numCache>
                <c:formatCode>General</c:formatCode>
                <c:ptCount val="4"/>
                <c:pt idx="0">
                  <c:v>0.56299999999999994</c:v>
                </c:pt>
                <c:pt idx="1">
                  <c:v>2.0299999999999998</c:v>
                </c:pt>
                <c:pt idx="2">
                  <c:v>2.2400000000000002</c:v>
                </c:pt>
                <c:pt idx="3">
                  <c:v>2.6789999999999998</c:v>
                </c:pt>
              </c:numCache>
            </c:numRef>
          </c:yVal>
          <c:bubbleSize>
            <c:numRef>
              <c:f>Sheet1!$C$2:$C$5</c:f>
              <c:numCache>
                <c:formatCode>General</c:formatCode>
                <c:ptCount val="4"/>
                <c:pt idx="0">
                  <c:v>2219640</c:v>
                </c:pt>
                <c:pt idx="1">
                  <c:v>2139196</c:v>
                </c:pt>
                <c:pt idx="2">
                  <c:v>871547</c:v>
                </c:pt>
                <c:pt idx="3">
                  <c:v>191546</c:v>
                </c:pt>
              </c:numCache>
            </c:numRef>
          </c:bubbleSize>
          <c:bubble3D val="0"/>
          <c:extLst>
            <c:ext xmlns:c15="http://schemas.microsoft.com/office/drawing/2012/chart" uri="{02D57815-91ED-43cb-92C2-25804820EDAC}">
              <c15:datalabelsRange>
                <c15:f>Sheet1!$E$2:$E$10</c15:f>
                <c15:dlblRangeCache>
                  <c:ptCount val="9"/>
                  <c:pt idx="0">
                    <c:v>Edgewell</c:v>
                  </c:pt>
                  <c:pt idx="1">
                    <c:v>Australian Gold</c:v>
                  </c:pt>
                  <c:pt idx="2">
                    <c:v>Sun &amp; Skin Care Research</c:v>
                  </c:pt>
                  <c:pt idx="3">
                    <c:v>Labs. Expanscienc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0"/>
          <c:min val="2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0E2C12EF-DA50-4FBD-98ED-141999582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CA-4C16-90F6-A0D9A3D8DA8E}"/>
                </c:ext>
              </c:extLst>
            </c:dLbl>
            <c:dLbl>
              <c:idx val="2"/>
              <c:tx>
                <c:rich>
                  <a:bodyPr/>
                  <a:lstStyle/>
                  <a:p>
                    <a:fld id="{4C13B375-C022-40F1-83ED-E7E8893D74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1DB372CD-9B08-4A15-A9A2-31F9EF5E90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15830381-A120-42EC-9B8A-744B2228F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4E9A70EF-241C-402B-85F7-FDEA76901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6FAA731F-2BBE-4CB3-B4BB-7976AC89E4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65DD8BAF-271C-4FD0-8421-CF8FD4F61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5B891A76-0889-48AB-BAE1-926BB8DDE3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7.893</c:v>
                </c:pt>
              </c:numCache>
            </c:numRef>
          </c:xVal>
          <c:yVal>
            <c:numRef>
              <c:f>Sheet1!$B$2:$B$2</c:f>
              <c:numCache>
                <c:formatCode>General</c:formatCode>
                <c:ptCount val="1"/>
                <c:pt idx="0">
                  <c:v>1</c:v>
                </c:pt>
              </c:numCache>
            </c:numRef>
          </c:yVal>
          <c:bubbleSize>
            <c:numRef>
              <c:f>Sheet1!$C$2:$C$2</c:f>
              <c:numCache>
                <c:formatCode>General</c:formatCode>
                <c:ptCount val="1"/>
                <c:pt idx="0">
                  <c:v>1674786</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9"/>
          <c:min val="16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E247818-4DC4-4AEB-90EF-4BA207424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09610F7-14D0-4334-9AE3-3536BC0F4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8DF1E44-DDA1-4B82-8F73-99002F1CF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2144936-9AF7-41C2-A56C-D2DFCE475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434BD33-9FEB-49EF-9DD2-0B95FF405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7A6EEE8-D76B-4A0F-A4E5-5E03C7DF45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41C892F-2813-4099-9FB3-3F495E7875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3D0C58C-E68B-4D65-AF7B-603389569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51.09890000000001</c:v>
                </c:pt>
              </c:numCache>
            </c:numRef>
          </c:xVal>
          <c:yVal>
            <c:numRef>
              <c:f>Sheet1!$B$2:$B$2</c:f>
              <c:numCache>
                <c:formatCode>General</c:formatCode>
                <c:ptCount val="1"/>
                <c:pt idx="0">
                  <c:v>0.47</c:v>
                </c:pt>
              </c:numCache>
            </c:numRef>
          </c:yVal>
          <c:bubbleSize>
            <c:numRef>
              <c:f>Sheet1!$C$2:$C$2</c:f>
              <c:numCache>
                <c:formatCode>General</c:formatCode>
                <c:ptCount val="1"/>
                <c:pt idx="0">
                  <c:v>2155747</c:v>
                </c:pt>
              </c:numCache>
            </c:numRef>
          </c:bubbleSize>
          <c:bubble3D val="0"/>
          <c:extLst>
            <c:ext xmlns:c15="http://schemas.microsoft.com/office/drawing/2012/chart" uri="{02D57815-91ED-43cb-92C2-25804820EDAC}">
              <c15:datalabelsRange>
                <c15:f>Sheet1!$E$2:$E$10</c15:f>
                <c15:dlblRangeCache>
                  <c:ptCount val="9"/>
                  <c:pt idx="0">
                    <c:v>J&amp;J</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1"/>
          <c:min val="28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86AE87-FE49-43AE-BA10-68FCBF83A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507F20-75A7-4590-812B-DB6CE4A6E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BA98138-4360-4E07-BD40-DEB3C1984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BFEC509-808C-4E56-999C-C0C84B1B6C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8E7CB12-8445-41B5-B615-00BEB7241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B9EBD2F-FC44-465E-AEEA-E000225D5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7E18D78-F063-42FD-8322-D8F72F68F9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DDDF1D2-1E4D-4B6F-8E91-E08AE62AF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597.39189999999996</c:v>
                </c:pt>
                <c:pt idx="1">
                  <c:v>517.70339999999999</c:v>
                </c:pt>
              </c:numCache>
            </c:numRef>
          </c:xVal>
          <c:yVal>
            <c:numRef>
              <c:f>Sheet1!$B$2:$B$3</c:f>
              <c:numCache>
                <c:formatCode>General</c:formatCode>
                <c:ptCount val="2"/>
                <c:pt idx="0">
                  <c:v>0.99399999999999999</c:v>
                </c:pt>
                <c:pt idx="1">
                  <c:v>1.9610000000000001</c:v>
                </c:pt>
              </c:numCache>
            </c:numRef>
          </c:yVal>
          <c:bubbleSize>
            <c:numRef>
              <c:f>Sheet1!$C$2:$C$3</c:f>
              <c:numCache>
                <c:formatCode>General</c:formatCode>
                <c:ptCount val="2"/>
                <c:pt idx="0">
                  <c:v>7450074</c:v>
                </c:pt>
                <c:pt idx="1">
                  <c:v>6483718</c:v>
                </c:pt>
              </c:numCache>
            </c:numRef>
          </c:bubbleSize>
          <c:bubble3D val="0"/>
          <c:extLst>
            <c:ext xmlns:c15="http://schemas.microsoft.com/office/drawing/2012/chart" uri="{02D57815-91ED-43cb-92C2-25804820EDAC}">
              <c15:datalabelsRange>
                <c15:f>Sheet1!$E$2:$E$10</c15:f>
                <c15:dlblRangeCache>
                  <c:ptCount val="9"/>
                  <c:pt idx="0">
                    <c:v>Isdin</c:v>
                  </c:pt>
                  <c:pt idx="1">
                    <c:v>L'Orea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7"/>
          <c:min val="4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2CE569-BCAD-4A41-B95E-105F7F121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22E6ADB-CEFC-483B-A5EA-EE801C3DD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704ECBE-BD79-4306-8E17-A5299310E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952E273-076B-40FE-9790-C6E9A94F4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4885B4C-0A87-420A-B6B1-854F2FB28F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A6DFA37-8605-4835-AA43-CBC8FFE2B2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9586382-3F93-40C3-A6BC-8F7E3510B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8006AE6-02C9-45DF-BA80-1CC922A66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0.39980000000003</c:v>
                </c:pt>
                <c:pt idx="1">
                  <c:v>583.70219999999995</c:v>
                </c:pt>
                <c:pt idx="2">
                  <c:v>635.97360000000003</c:v>
                </c:pt>
                <c:pt idx="3">
                  <c:v>543.4923</c:v>
                </c:pt>
                <c:pt idx="4">
                  <c:v>606.59429999999998</c:v>
                </c:pt>
                <c:pt idx="5">
                  <c:v>332.27109999999999</c:v>
                </c:pt>
                <c:pt idx="6">
                  <c:v>298.22359999999998</c:v>
                </c:pt>
                <c:pt idx="7">
                  <c:v>359.79739999999998</c:v>
                </c:pt>
              </c:numCache>
            </c:numRef>
          </c:xVal>
          <c:yVal>
            <c:numRef>
              <c:f>Sheet1!$B$2:$B$9</c:f>
              <c:numCache>
                <c:formatCode>General</c:formatCode>
                <c:ptCount val="8"/>
                <c:pt idx="0">
                  <c:v>0.76</c:v>
                </c:pt>
                <c:pt idx="1">
                  <c:v>2.9910000000000001</c:v>
                </c:pt>
                <c:pt idx="2">
                  <c:v>1.9219999999999999</c:v>
                </c:pt>
                <c:pt idx="3">
                  <c:v>1.4279999999999999</c:v>
                </c:pt>
                <c:pt idx="4">
                  <c:v>1.9219999999999999</c:v>
                </c:pt>
                <c:pt idx="5">
                  <c:v>0.91800000000000004</c:v>
                </c:pt>
                <c:pt idx="6">
                  <c:v>0.47599999999999998</c:v>
                </c:pt>
                <c:pt idx="7">
                  <c:v>1.94</c:v>
                </c:pt>
              </c:numCache>
            </c:numRef>
          </c:yVal>
          <c:bubbleSize>
            <c:numRef>
              <c:f>Sheet1!$C$2:$C$9</c:f>
              <c:numCache>
                <c:formatCode>General</c:formatCode>
                <c:ptCount val="8"/>
                <c:pt idx="0">
                  <c:v>99185766</c:v>
                </c:pt>
                <c:pt idx="1">
                  <c:v>57072654</c:v>
                </c:pt>
                <c:pt idx="2">
                  <c:v>21633279</c:v>
                </c:pt>
                <c:pt idx="3">
                  <c:v>18539609</c:v>
                </c:pt>
                <c:pt idx="4">
                  <c:v>16668605</c:v>
                </c:pt>
                <c:pt idx="5">
                  <c:v>10724715</c:v>
                </c:pt>
                <c:pt idx="6">
                  <c:v>6394510</c:v>
                </c:pt>
                <c:pt idx="7">
                  <c:v>5927302</c:v>
                </c:pt>
              </c:numCache>
            </c:numRef>
          </c:bubbleSize>
          <c:bubble3D val="0"/>
          <c:extLst>
            <c:ext xmlns:c15="http://schemas.microsoft.com/office/drawing/2012/chart" uri="{02D57815-91ED-43cb-92C2-25804820EDAC}">
              <c15:datalabelsRange>
                <c15:f>Sheet1!$E$2:$E$10</c15:f>
                <c15:dlblRangeCache>
                  <c:ptCount val="9"/>
                  <c:pt idx="0">
                    <c:v>J&amp;J</c:v>
                  </c:pt>
                  <c:pt idx="1">
                    <c:v>Isdin</c:v>
                  </c:pt>
                  <c:pt idx="2">
                    <c:v>L'Oreal</c:v>
                  </c:pt>
                  <c:pt idx="3">
                    <c:v>Pierre Fabre</c:v>
                  </c:pt>
                  <c:pt idx="4">
                    <c:v>Beiersdorf</c:v>
                  </c:pt>
                  <c:pt idx="5">
                    <c:v>Glaxosmithkline</c:v>
                  </c:pt>
                  <c:pt idx="6">
                    <c:v>Genomma Lab.</c:v>
                  </c:pt>
                  <c:pt idx="7">
                    <c:v>Gal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3"/>
          <c:min val="23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B3A7D57-CED1-4FC7-AC85-C364B7E5F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EC29344-248E-467C-8548-0657748D24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6205771-57EA-4BCE-B233-26F5A9372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6809C06-9D12-4F06-BEFB-A948BCDDD5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ACC98A4-4F42-4BF1-8480-6BD0720AC1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0FE2B88-A087-4474-8A97-C0AC24894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D064461-D49A-4CD1-B5B5-6FA201BB27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E3E201E-2776-4A3F-849F-E391134C6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551.95619999999997</c:v>
                </c:pt>
                <c:pt idx="1">
                  <c:v>580.10599999999999</c:v>
                </c:pt>
                <c:pt idx="2">
                  <c:v>533.79150000000004</c:v>
                </c:pt>
                <c:pt idx="3">
                  <c:v>524.24919999999997</c:v>
                </c:pt>
                <c:pt idx="4">
                  <c:v>369.12920000000003</c:v>
                </c:pt>
              </c:numCache>
            </c:numRef>
          </c:xVal>
          <c:yVal>
            <c:numRef>
              <c:f>Sheet1!$B$2:$B$6</c:f>
              <c:numCache>
                <c:formatCode>General</c:formatCode>
                <c:ptCount val="5"/>
                <c:pt idx="0">
                  <c:v>0.89700000000000002</c:v>
                </c:pt>
                <c:pt idx="1">
                  <c:v>1.0389999999999999</c:v>
                </c:pt>
                <c:pt idx="2">
                  <c:v>1.478</c:v>
                </c:pt>
                <c:pt idx="3">
                  <c:v>0.82799999999999996</c:v>
                </c:pt>
                <c:pt idx="4">
                  <c:v>1.109</c:v>
                </c:pt>
              </c:numCache>
            </c:numRef>
          </c:yVal>
          <c:bubbleSize>
            <c:numRef>
              <c:f>Sheet1!$C$2:$C$6</c:f>
              <c:numCache>
                <c:formatCode>General</c:formatCode>
                <c:ptCount val="5"/>
                <c:pt idx="0">
                  <c:v>17135479</c:v>
                </c:pt>
                <c:pt idx="1">
                  <c:v>14920906</c:v>
                </c:pt>
                <c:pt idx="2">
                  <c:v>4767826</c:v>
                </c:pt>
                <c:pt idx="3">
                  <c:v>4638557</c:v>
                </c:pt>
                <c:pt idx="4">
                  <c:v>2334373</c:v>
                </c:pt>
              </c:numCache>
            </c:numRef>
          </c:bubbleSize>
          <c:bubble3D val="0"/>
          <c:extLst>
            <c:ext xmlns:c15="http://schemas.microsoft.com/office/drawing/2012/chart" uri="{02D57815-91ED-43cb-92C2-25804820EDAC}">
              <c15:datalabelsRange>
                <c15:f>Sheet1!$E$2:$E$10</c15:f>
                <c15:dlblRangeCache>
                  <c:ptCount val="9"/>
                  <c:pt idx="0">
                    <c:v>L'Oreal</c:v>
                  </c:pt>
                  <c:pt idx="1">
                    <c:v>Isdin</c:v>
                  </c:pt>
                  <c:pt idx="2">
                    <c:v>Pierre Fabre</c:v>
                  </c:pt>
                  <c:pt idx="3">
                    <c:v>Beiersdorf</c:v>
                  </c:pt>
                  <c:pt idx="4">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6"/>
          <c:min val="29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65E970E-43B9-4C2E-8E03-E78E6800F4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CB87D89-FC31-40DC-96F3-EDEB82D459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1A5E4DB-B36D-4D98-8071-DBCA1157A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59FF19F-7768-4F2A-B397-E2F4C7E26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AC0BC56-C325-4349-AB0D-F8CAC8B3D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F53025C-ECF0-42D9-8076-331F51B99B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E24B9E5-C56A-4C03-BA76-C8AF77795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04A9766-0894-42A3-A77D-0A4E048743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591.13890000000004</c:v>
                </c:pt>
                <c:pt idx="1">
                  <c:v>552.87980000000005</c:v>
                </c:pt>
                <c:pt idx="2">
                  <c:v>539.37109999999996</c:v>
                </c:pt>
                <c:pt idx="3">
                  <c:v>567.20190000000002</c:v>
                </c:pt>
                <c:pt idx="4">
                  <c:v>467.96749999999997</c:v>
                </c:pt>
              </c:numCache>
            </c:numRef>
          </c:xVal>
          <c:yVal>
            <c:numRef>
              <c:f>Sheet1!$B$2:$B$6</c:f>
              <c:numCache>
                <c:formatCode>General</c:formatCode>
                <c:ptCount val="5"/>
                <c:pt idx="0">
                  <c:v>0.57299999999999995</c:v>
                </c:pt>
                <c:pt idx="1">
                  <c:v>2.64</c:v>
                </c:pt>
                <c:pt idx="2">
                  <c:v>2.7080000000000002</c:v>
                </c:pt>
                <c:pt idx="3">
                  <c:v>16.600999999999999</c:v>
                </c:pt>
                <c:pt idx="4">
                  <c:v>1.286</c:v>
                </c:pt>
              </c:numCache>
            </c:numRef>
          </c:yVal>
          <c:bubbleSize>
            <c:numRef>
              <c:f>Sheet1!$C$2:$C$6</c:f>
              <c:numCache>
                <c:formatCode>General</c:formatCode>
                <c:ptCount val="5"/>
                <c:pt idx="0">
                  <c:v>17641359</c:v>
                </c:pt>
                <c:pt idx="1">
                  <c:v>11875859</c:v>
                </c:pt>
                <c:pt idx="2">
                  <c:v>5506979</c:v>
                </c:pt>
                <c:pt idx="3">
                  <c:v>1573418</c:v>
                </c:pt>
                <c:pt idx="4">
                  <c:v>1323880</c:v>
                </c:pt>
              </c:numCache>
            </c:numRef>
          </c:bubbleSize>
          <c:bubble3D val="0"/>
          <c:extLst>
            <c:ext xmlns:c15="http://schemas.microsoft.com/office/drawing/2012/chart" uri="{02D57815-91ED-43cb-92C2-25804820EDAC}">
              <c15:datalabelsRange>
                <c15:f>Sheet1!$E$2:$E$10</c15:f>
                <c15:dlblRangeCache>
                  <c:ptCount val="9"/>
                  <c:pt idx="0">
                    <c:v>Isdin</c:v>
                  </c:pt>
                  <c:pt idx="1">
                    <c:v>Beiersdorf</c:v>
                  </c:pt>
                  <c:pt idx="2">
                    <c:v>L'Oreal</c:v>
                  </c:pt>
                  <c:pt idx="3">
                    <c:v>Bioderma</c:v>
                  </c:pt>
                  <c:pt idx="4">
                    <c:v>Gal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37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2514C9-2EE5-4728-A804-9506675371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8ED559-BB57-4274-87EA-41699A8E00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41CDD9E-18CC-4F05-8B8A-8A2751803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35513B9-0877-42B0-8C9E-01B3FD96A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F527045-2C7E-474F-96BD-4F9952F1E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2EFA5C7-C315-4131-8039-CBD2F343A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4244269-BF8A-4E4F-88BF-425C2A4A0C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C101E3B-589C-4978-8184-AF0B82870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02.04489999999998</c:v>
                </c:pt>
                <c:pt idx="1">
                  <c:v>627.20219999999995</c:v>
                </c:pt>
              </c:numCache>
            </c:numRef>
          </c:xVal>
          <c:yVal>
            <c:numRef>
              <c:f>Sheet1!$B$2:$B$3</c:f>
              <c:numCache>
                <c:formatCode>General</c:formatCode>
                <c:ptCount val="2"/>
                <c:pt idx="0">
                  <c:v>0.90200000000000002</c:v>
                </c:pt>
                <c:pt idx="1">
                  <c:v>0</c:v>
                </c:pt>
              </c:numCache>
            </c:numRef>
          </c:yVal>
          <c:bubbleSize>
            <c:numRef>
              <c:f>Sheet1!$C$2:$C$3</c:f>
              <c:numCache>
                <c:formatCode>General</c:formatCode>
                <c:ptCount val="2"/>
                <c:pt idx="0">
                  <c:v>2562303</c:v>
                </c:pt>
                <c:pt idx="1">
                  <c:v>279105</c:v>
                </c:pt>
              </c:numCache>
            </c:numRef>
          </c:bubbleSize>
          <c:bubble3D val="0"/>
          <c:extLst>
            <c:ext xmlns:c15="http://schemas.microsoft.com/office/drawing/2012/chart" uri="{02D57815-91ED-43cb-92C2-25804820EDAC}">
              <c15:datalabelsRange>
                <c15:f>Sheet1!$E$2:$E$10</c15:f>
                <c15:dlblRangeCache>
                  <c:ptCount val="9"/>
                  <c:pt idx="0">
                    <c:v>Beiersdorf</c:v>
                  </c:pt>
                  <c:pt idx="1">
                    <c:v>Bioderm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3"/>
          <c:min val="48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DA9448-C629-424C-B4B7-8CAABD34C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17859F-21BA-4113-8A56-C04BFA64AC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F7B5A78-7DD3-4016-863C-D71EBFA0DD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31B947-2F01-4EE7-8B19-50869DA83F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0644929-AE77-4EA6-A923-55B092010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F9DD507-5BD3-485F-8008-3338908808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5AE22F9-0EC8-4A60-9B46-27B27DB76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C23920F-1BD5-4A9D-B846-A7DA14131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6.00380000000001</c:v>
                </c:pt>
                <c:pt idx="1">
                  <c:v>601.52750000000003</c:v>
                </c:pt>
                <c:pt idx="2">
                  <c:v>576.16099999999994</c:v>
                </c:pt>
                <c:pt idx="3">
                  <c:v>481.26670000000001</c:v>
                </c:pt>
                <c:pt idx="4">
                  <c:v>328.99709999999999</c:v>
                </c:pt>
                <c:pt idx="5">
                  <c:v>449.5847</c:v>
                </c:pt>
              </c:numCache>
            </c:numRef>
          </c:xVal>
          <c:yVal>
            <c:numRef>
              <c:f>Sheet1!$B$2:$B$7</c:f>
              <c:numCache>
                <c:formatCode>General</c:formatCode>
                <c:ptCount val="6"/>
                <c:pt idx="0">
                  <c:v>1.131</c:v>
                </c:pt>
                <c:pt idx="1">
                  <c:v>1.355</c:v>
                </c:pt>
                <c:pt idx="2">
                  <c:v>0.65200000000000002</c:v>
                </c:pt>
                <c:pt idx="3">
                  <c:v>0.82399999999999995</c:v>
                </c:pt>
                <c:pt idx="4">
                  <c:v>0.50800000000000001</c:v>
                </c:pt>
                <c:pt idx="5">
                  <c:v>0.38100000000000001</c:v>
                </c:pt>
              </c:numCache>
            </c:numRef>
          </c:yVal>
          <c:bubbleSize>
            <c:numRef>
              <c:f>Sheet1!$C$2:$C$7</c:f>
              <c:numCache>
                <c:formatCode>General</c:formatCode>
                <c:ptCount val="6"/>
                <c:pt idx="0">
                  <c:v>22396719</c:v>
                </c:pt>
                <c:pt idx="1">
                  <c:v>4652815</c:v>
                </c:pt>
                <c:pt idx="2">
                  <c:v>3481741</c:v>
                </c:pt>
                <c:pt idx="3">
                  <c:v>1959718</c:v>
                </c:pt>
                <c:pt idx="4">
                  <c:v>1031406</c:v>
                </c:pt>
                <c:pt idx="5">
                  <c:v>469816</c:v>
                </c:pt>
              </c:numCache>
            </c:numRef>
          </c:bubbleSize>
          <c:bubble3D val="0"/>
          <c:extLst>
            <c:ext xmlns:c15="http://schemas.microsoft.com/office/drawing/2012/chart" uri="{02D57815-91ED-43cb-92C2-25804820EDAC}">
              <c15:datalabelsRange>
                <c15:f>Sheet1!$E$2:$E$10</c15:f>
                <c15:dlblRangeCache>
                  <c:ptCount val="9"/>
                  <c:pt idx="0">
                    <c:v>L'Oreal</c:v>
                  </c:pt>
                  <c:pt idx="1">
                    <c:v>Isdin</c:v>
                  </c:pt>
                  <c:pt idx="2">
                    <c:v>Beiersdorf</c:v>
                  </c:pt>
                  <c:pt idx="3">
                    <c:v>Galderma</c:v>
                  </c:pt>
                  <c:pt idx="4">
                    <c:v>Glaxosmithkline</c:v>
                  </c:pt>
                  <c:pt idx="5">
                    <c:v>Pierre Fab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2"/>
          <c:min val="21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53D61C-7F19-40F1-9995-0F19B2314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CA67DE7-A215-4E34-8FC4-2CF4B1F9F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FC377E1-FC5C-4157-A607-DF977B6C0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5A8435C-B5E0-4471-A0F2-A9981FD445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653CE98-893D-4385-99FE-EF8AF0BEE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3353C7D-4D96-4D92-AD51-7202A6C086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03BFA41-04BE-4182-B090-5141CCC6D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276B9A4-6469-4CF5-8934-AB5F26C318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597.97450000000003</c:v>
                </c:pt>
                <c:pt idx="1">
                  <c:v>566.36</c:v>
                </c:pt>
                <c:pt idx="2">
                  <c:v>246.7004</c:v>
                </c:pt>
              </c:numCache>
            </c:numRef>
          </c:xVal>
          <c:yVal>
            <c:numRef>
              <c:f>Sheet1!$B$2:$B$4</c:f>
              <c:numCache>
                <c:formatCode>General</c:formatCode>
                <c:ptCount val="3"/>
                <c:pt idx="0">
                  <c:v>0.72099999999999997</c:v>
                </c:pt>
                <c:pt idx="1">
                  <c:v>1.2230000000000001</c:v>
                </c:pt>
                <c:pt idx="2">
                  <c:v>1.397</c:v>
                </c:pt>
              </c:numCache>
            </c:numRef>
          </c:yVal>
          <c:bubbleSize>
            <c:numRef>
              <c:f>Sheet1!$C$2:$C$4</c:f>
              <c:numCache>
                <c:formatCode>General</c:formatCode>
                <c:ptCount val="3"/>
                <c:pt idx="0">
                  <c:v>1685690</c:v>
                </c:pt>
                <c:pt idx="1">
                  <c:v>1592038</c:v>
                </c:pt>
                <c:pt idx="2">
                  <c:v>1269767</c:v>
                </c:pt>
              </c:numCache>
            </c:numRef>
          </c:bubbleSize>
          <c:bubble3D val="0"/>
          <c:extLst>
            <c:ext xmlns:c15="http://schemas.microsoft.com/office/drawing/2012/chart" uri="{02D57815-91ED-43cb-92C2-25804820EDAC}">
              <c15:datalabelsRange>
                <c15:f>Sheet1!$E$2:$E$10</c15:f>
                <c15:dlblRangeCache>
                  <c:ptCount val="9"/>
                  <c:pt idx="0">
                    <c:v>Isdin</c:v>
                  </c:pt>
                  <c:pt idx="1">
                    <c:v>L'Oreal</c:v>
                  </c:pt>
                  <c:pt idx="2">
                    <c:v>Glaxosmithkli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8"/>
          <c:min val="19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5089EE9-ED94-44F3-9490-1C77D19708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45A1EC-6DE3-4A0F-B2B3-8735221AB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44D8E7A-4887-4955-A254-677415488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4965C74-5A61-4582-A3B2-9B2AE2401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BB8BD10-EBD3-46A5-AC4C-F6691FC63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B9ED512-7E55-4740-89BA-CE043D5B0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AF625EF-2BAF-490A-8AC2-AE41C74F62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073B2A8-72DE-4A7C-8BD2-B408B34D79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57.53</c:v>
                </c:pt>
                <c:pt idx="1">
                  <c:v>539.44320000000005</c:v>
                </c:pt>
                <c:pt idx="2">
                  <c:v>718.29409999999996</c:v>
                </c:pt>
              </c:numCache>
            </c:numRef>
          </c:xVal>
          <c:yVal>
            <c:numRef>
              <c:f>Sheet1!$B$2:$B$4</c:f>
              <c:numCache>
                <c:formatCode>General</c:formatCode>
                <c:ptCount val="3"/>
                <c:pt idx="0">
                  <c:v>0.98299999999999998</c:v>
                </c:pt>
                <c:pt idx="1">
                  <c:v>1.0369999999999999</c:v>
                </c:pt>
                <c:pt idx="2">
                  <c:v>0</c:v>
                </c:pt>
              </c:numCache>
            </c:numRef>
          </c:yVal>
          <c:bubbleSize>
            <c:numRef>
              <c:f>Sheet1!$C$2:$C$4</c:f>
              <c:numCache>
                <c:formatCode>General</c:formatCode>
                <c:ptCount val="3"/>
                <c:pt idx="0">
                  <c:v>2693243</c:v>
                </c:pt>
                <c:pt idx="1">
                  <c:v>284826</c:v>
                </c:pt>
                <c:pt idx="2">
                  <c:v>36633</c:v>
                </c:pt>
              </c:numCache>
            </c:numRef>
          </c:bubbleSize>
          <c:bubble3D val="0"/>
          <c:extLst>
            <c:ext xmlns:c15="http://schemas.microsoft.com/office/drawing/2012/chart" uri="{02D57815-91ED-43cb-92C2-25804820EDAC}">
              <c15:datalabelsRange>
                <c15:f>Sheet1!$E$2:$E$10</c15:f>
                <c15:dlblRangeCache>
                  <c:ptCount val="9"/>
                  <c:pt idx="0">
                    <c:v>Bioderma</c:v>
                  </c:pt>
                  <c:pt idx="1">
                    <c:v>L'Oreal</c:v>
                  </c:pt>
                  <c:pt idx="2">
                    <c:v>Genove Lab.</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2"/>
          <c:min val="43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7616C0-5E35-48ED-AED3-6E07AB43F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7779FC4-BB6B-4B36-ACDF-AD5F453CF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7984F8B-8B91-437B-927D-7E60525B3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8BE40A9-114C-4C39-BF7E-03CE9E9CB7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908F313-DF90-4D25-AC1A-B0CFABFB3B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317C449-D47B-49FD-8DBD-E7F686DA9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FF60D0C-EA52-4B48-8332-9AE267CB4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FF3CFFD-2C77-4BFE-846D-A2C4D45B1F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28.661</c:v>
                </c:pt>
              </c:numCache>
            </c:numRef>
          </c:xVal>
          <c:yVal>
            <c:numRef>
              <c:f>Sheet1!$B$2:$B$2</c:f>
              <c:numCache>
                <c:formatCode>General</c:formatCode>
                <c:ptCount val="1"/>
                <c:pt idx="0">
                  <c:v>1</c:v>
                </c:pt>
              </c:numCache>
            </c:numRef>
          </c:yVal>
          <c:bubbleSize>
            <c:numRef>
              <c:f>Sheet1!$C$2:$C$2</c:f>
              <c:numCache>
                <c:formatCode>General</c:formatCode>
                <c:ptCount val="1"/>
                <c:pt idx="0">
                  <c:v>4708412</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4"/>
          <c:min val="34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ED1DD4-C137-4E13-8DB1-26726872A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BB0EC99-18A3-4A26-9BD1-D1AA8BD36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BC6089-DFD4-4AE0-81D0-A41DB2E8A7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26550C5-C865-44D5-8928-096156A2F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805DF6F-2DF0-4702-9316-A53CF98FA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D1E07F1-1BA4-41D8-9CE0-99BABCEFC5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F336D91-CEB5-4C6C-8960-51C87715B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BF4C141-5291-4053-8250-C04F1CCC05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08.25069999999999</c:v>
                </c:pt>
                <c:pt idx="1">
                  <c:v>390.87819999999999</c:v>
                </c:pt>
                <c:pt idx="2">
                  <c:v>316.08710000000002</c:v>
                </c:pt>
              </c:numCache>
            </c:numRef>
          </c:xVal>
          <c:yVal>
            <c:numRef>
              <c:f>Sheet1!$B$2:$B$4</c:f>
              <c:numCache>
                <c:formatCode>General</c:formatCode>
                <c:ptCount val="3"/>
                <c:pt idx="0">
                  <c:v>0.61299999999999999</c:v>
                </c:pt>
                <c:pt idx="1">
                  <c:v>2.3250000000000002</c:v>
                </c:pt>
                <c:pt idx="2">
                  <c:v>2.12</c:v>
                </c:pt>
              </c:numCache>
            </c:numRef>
          </c:yVal>
          <c:bubbleSize>
            <c:numRef>
              <c:f>Sheet1!$C$2:$C$4</c:f>
              <c:numCache>
                <c:formatCode>General</c:formatCode>
                <c:ptCount val="3"/>
                <c:pt idx="0">
                  <c:v>792602</c:v>
                </c:pt>
                <c:pt idx="1">
                  <c:v>599998</c:v>
                </c:pt>
                <c:pt idx="2">
                  <c:v>319248</c:v>
                </c:pt>
              </c:numCache>
            </c:numRef>
          </c:bubbleSize>
          <c:bubble3D val="0"/>
          <c:extLst>
            <c:ext xmlns:c15="http://schemas.microsoft.com/office/drawing/2012/chart" uri="{02D57815-91ED-43cb-92C2-25804820EDAC}">
              <c15:datalabelsRange>
                <c15:f>Sheet1!$E$2:$E$10</c15:f>
                <c15:dlblRangeCache>
                  <c:ptCount val="9"/>
                  <c:pt idx="0">
                    <c:v>Banana Boat</c:v>
                  </c:pt>
                  <c:pt idx="1">
                    <c:v>Australian Gold</c:v>
                  </c:pt>
                  <c:pt idx="2">
                    <c:v>Ocean Po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9"/>
          <c:min val="16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173522-26E6-40F5-9336-5E70A0707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ECFC4A-12FA-44BA-AAEC-5290B13567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7844E2D-5166-4B12-9C00-327873508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038976B-D77A-4F2F-BD9B-F1CA51D39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6281BDF-CD16-4F23-845F-2969FE05C0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595C582-0A97-4459-97FB-8F5F362908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7623F10-B8B7-4B5B-B638-36AED82EEA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EBB8CD9-CB70-4CAC-8888-9852A511F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45.435</c:v>
                </c:pt>
                <c:pt idx="1">
                  <c:v>74.764099999999999</c:v>
                </c:pt>
              </c:numCache>
            </c:numRef>
          </c:xVal>
          <c:yVal>
            <c:numRef>
              <c:f>Sheet1!$B$2:$B$3</c:f>
              <c:numCache>
                <c:formatCode>General</c:formatCode>
                <c:ptCount val="2"/>
                <c:pt idx="0">
                  <c:v>1.2470000000000001</c:v>
                </c:pt>
                <c:pt idx="1">
                  <c:v>0.74399999999999999</c:v>
                </c:pt>
              </c:numCache>
            </c:numRef>
          </c:yVal>
          <c:bubbleSize>
            <c:numRef>
              <c:f>Sheet1!$C$2:$C$3</c:f>
              <c:numCache>
                <c:formatCode>General</c:formatCode>
                <c:ptCount val="2"/>
                <c:pt idx="0">
                  <c:v>34943802</c:v>
                </c:pt>
                <c:pt idx="1">
                  <c:v>16190326</c:v>
                </c:pt>
              </c:numCache>
            </c:numRef>
          </c:bubbleSize>
          <c:bubble3D val="0"/>
          <c:extLst>
            <c:ext xmlns:c15="http://schemas.microsoft.com/office/drawing/2012/chart" uri="{02D57815-91ED-43cb-92C2-25804820EDAC}">
              <c15:datalabelsRange>
                <c15:f>Sheet1!$E$2:$E$10</c15:f>
                <c15:dlblRangeCache>
                  <c:ptCount val="9"/>
                  <c:pt idx="0">
                    <c:v>Edgewell</c:v>
                  </c:pt>
                  <c:pt idx="1">
                    <c:v>Total Care De Mexic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5"/>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6ECEECD-1AC5-4810-AE8B-A3B985B9DA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36A2BCF-79A5-4BDB-A4F5-34E7F5BBB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99B0FB7-CD1C-48CB-A6F2-64CD501DAC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790820C-59D1-4C42-B1DF-CF2BD3759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08623DA-7E9E-4033-B298-3B4AB656F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A995A95-03ED-4823-A53E-83BA20A16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29E27AA-3ADC-462B-A5D4-B0556924E3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065E240-9D22-45FA-A0BB-C96945C4F7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3.9932</c:v>
                </c:pt>
              </c:numCache>
            </c:numRef>
          </c:xVal>
          <c:yVal>
            <c:numRef>
              <c:f>Sheet1!$B$2:$B$2</c:f>
              <c:numCache>
                <c:formatCode>General</c:formatCode>
                <c:ptCount val="1"/>
                <c:pt idx="0">
                  <c:v>1</c:v>
                </c:pt>
              </c:numCache>
            </c:numRef>
          </c:yVal>
          <c:bubbleSize>
            <c:numRef>
              <c:f>Sheet1!$C$2:$C$2</c:f>
              <c:numCache>
                <c:formatCode>General</c:formatCode>
                <c:ptCount val="1"/>
                <c:pt idx="0">
                  <c:v>72045513</c:v>
                </c:pt>
              </c:numCache>
            </c:numRef>
          </c:bubbleSize>
          <c:bubble3D val="0"/>
          <c:extLst>
            <c:ext xmlns:c15="http://schemas.microsoft.com/office/drawing/2012/chart" uri="{02D57815-91ED-43cb-92C2-25804820EDAC}">
              <c15:datalabelsRange>
                <c15:f>Sheet1!$E$2:$E$10</c15:f>
                <c15:dlblRangeCache>
                  <c:ptCount val="9"/>
                  <c:pt idx="0">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7"/>
          <c:min val="17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D17238-7DFD-478B-BAF0-41FC8A129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3DBCDA5F-B08E-46C8-A745-AF71C012A8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EAEA19E-A412-470F-BD42-39DD04F9FA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95785EA-E4D8-4245-A88A-9AD1D19E1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153B07C-2FF0-4D63-A7F6-740CF29FC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CE9EC5E-C3C6-4F61-80C2-562EBF9BE1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9670888-AAB9-43C1-B526-362A7F2AE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EC519C1-061D-4289-B0AE-DCA6517B9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47.22380000000001</c:v>
                </c:pt>
              </c:numCache>
            </c:numRef>
          </c:xVal>
          <c:yVal>
            <c:numRef>
              <c:f>Sheet1!$B$2:$B$2</c:f>
              <c:numCache>
                <c:formatCode>General</c:formatCode>
                <c:ptCount val="1"/>
                <c:pt idx="0">
                  <c:v>0.99099999999999999</c:v>
                </c:pt>
              </c:numCache>
            </c:numRef>
          </c:yVal>
          <c:bubbleSize>
            <c:numRef>
              <c:f>Sheet1!$C$2:$C$2</c:f>
              <c:numCache>
                <c:formatCode>General</c:formatCode>
                <c:ptCount val="1"/>
                <c:pt idx="0">
                  <c:v>21721822</c:v>
                </c:pt>
              </c:numCache>
            </c:numRef>
          </c:bubbleSize>
          <c:bubble3D val="0"/>
          <c:extLst>
            <c:ext xmlns:c15="http://schemas.microsoft.com/office/drawing/2012/chart" uri="{02D57815-91ED-43cb-92C2-25804820EDAC}">
              <c15:datalabelsRange>
                <c15:f>Sheet1!$E$2:$E$10</c15:f>
                <c15:dlblRangeCache>
                  <c:ptCount val="9"/>
                  <c:pt idx="0">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7"/>
          <c:min val="19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88E649-2AA6-450B-B021-8C6496FFD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08AD6D8B-282F-41B7-89DB-4C6C9F955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0BD6837-0519-4EBF-A6BE-40ECF8AA3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D1B9DF9-8BBF-4ED1-957A-3CCC0A31B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40871BC-7841-4287-ACE2-BF0C65BFE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9190335-188D-4794-86E1-F2E7EF3CF1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7CA8C8F-D1EA-48F2-81AA-E3BEE785C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FF45ECB-2EB2-45BC-83C8-69181E7B12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3.387</c:v>
                </c:pt>
              </c:numCache>
            </c:numRef>
          </c:xVal>
          <c:yVal>
            <c:numRef>
              <c:f>Sheet1!$B$2:$B$2</c:f>
              <c:numCache>
                <c:formatCode>General</c:formatCode>
                <c:ptCount val="1"/>
                <c:pt idx="0">
                  <c:v>1</c:v>
                </c:pt>
              </c:numCache>
            </c:numRef>
          </c:yVal>
          <c:bubbleSize>
            <c:numRef>
              <c:f>Sheet1!$C$2:$C$2</c:f>
              <c:numCache>
                <c:formatCode>General</c:formatCode>
                <c:ptCount val="1"/>
                <c:pt idx="0">
                  <c:v>1434285</c:v>
                </c:pt>
              </c:numCache>
            </c:numRef>
          </c:bubbleSize>
          <c:bubble3D val="0"/>
          <c:extLst>
            <c:ext xmlns:c15="http://schemas.microsoft.com/office/drawing/2012/chart" uri="{02D57815-91ED-43cb-92C2-25804820EDAC}">
              <c15:datalabelsRange>
                <c15:f>Sheet1!$E$2:$E$10</c15:f>
                <c15:dlblRangeCache>
                  <c:ptCount val="9"/>
                  <c:pt idx="0">
                    <c:v>Edgew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4"/>
          <c:min val="16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601A81-17EC-4263-8F7A-5AA9349BB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809749-5E95-4364-98A1-57451B128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28A369-1271-4484-9505-D8FC57851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1F87598-80C6-4F4E-AD20-282A23DE4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419B638-7079-4E99-A57C-863CCF9B0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981BAA4-0F9E-4725-97BB-75FCE4A94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9E2B500-040D-46B0-A32D-6352606E4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B5BB36C-C302-4E53-9595-FD630349C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08.94280000000001</c:v>
                </c:pt>
                <c:pt idx="1">
                  <c:v>393.6909</c:v>
                </c:pt>
                <c:pt idx="2">
                  <c:v>320.19260000000003</c:v>
                </c:pt>
              </c:numCache>
            </c:numRef>
          </c:xVal>
          <c:yVal>
            <c:numRef>
              <c:f>Sheet1!$B$2:$B$4</c:f>
              <c:numCache>
                <c:formatCode>General</c:formatCode>
                <c:ptCount val="3"/>
                <c:pt idx="0">
                  <c:v>0.60199999999999998</c:v>
                </c:pt>
                <c:pt idx="1">
                  <c:v>2.2010000000000001</c:v>
                </c:pt>
                <c:pt idx="2">
                  <c:v>2.2890000000000001</c:v>
                </c:pt>
              </c:numCache>
            </c:numRef>
          </c:yVal>
          <c:bubbleSize>
            <c:numRef>
              <c:f>Sheet1!$C$2:$C$4</c:f>
              <c:numCache>
                <c:formatCode>General</c:formatCode>
                <c:ptCount val="3"/>
                <c:pt idx="0">
                  <c:v>792520</c:v>
                </c:pt>
                <c:pt idx="1">
                  <c:v>599985</c:v>
                </c:pt>
                <c:pt idx="2">
                  <c:v>319232</c:v>
                </c:pt>
              </c:numCache>
            </c:numRef>
          </c:bubbleSize>
          <c:bubble3D val="0"/>
          <c:extLst>
            <c:ext xmlns:c15="http://schemas.microsoft.com/office/drawing/2012/chart" uri="{02D57815-91ED-43cb-92C2-25804820EDAC}">
              <c15:datalabelsRange>
                <c15:f>Sheet1!$E$2:$E$10</c15:f>
                <c15:dlblRangeCache>
                  <c:ptCount val="9"/>
                  <c:pt idx="0">
                    <c:v>Edgewell</c:v>
                  </c:pt>
                  <c:pt idx="1">
                    <c:v>Australian Gold</c:v>
                  </c:pt>
                  <c:pt idx="2">
                    <c:v>Sun &amp; Skin Care Resear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2"/>
          <c:min val="1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CE56994-3DE6-4EF5-BFF7-FFBB17B7E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83198AF-FF6E-4FFE-B5EB-895E3CBE07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EF687FA-3F95-4AC7-AA1E-41ACAFD76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AF8333F-2D65-4B32-B117-D53FEBDCE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9B6BEA5-6744-412C-B410-E83EDA5B92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8B7F288-8815-4CF3-A168-D31F38BE2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5A9CF58-455E-4F13-AD5B-4E888E628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154BC30-4079-4F43-937F-F2DC9623D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08.55500000000001</c:v>
                </c:pt>
              </c:numCache>
            </c:numRef>
          </c:xVal>
          <c:yVal>
            <c:numRef>
              <c:f>Sheet1!$B$2:$B$2</c:f>
              <c:numCache>
                <c:formatCode>General</c:formatCode>
                <c:ptCount val="1"/>
                <c:pt idx="0">
                  <c:v>1</c:v>
                </c:pt>
              </c:numCache>
            </c:numRef>
          </c:yVal>
          <c:bubbleSize>
            <c:numRef>
              <c:f>Sheet1!$C$2:$C$2</c:f>
              <c:numCache>
                <c:formatCode>General</c:formatCode>
                <c:ptCount val="1"/>
                <c:pt idx="0">
                  <c:v>101711</c:v>
                </c:pt>
              </c:numCache>
            </c:numRef>
          </c:bubbleSize>
          <c:bubble3D val="0"/>
          <c:extLst>
            <c:ext xmlns:c15="http://schemas.microsoft.com/office/drawing/2012/chart" uri="{02D57815-91ED-43cb-92C2-25804820EDAC}">
              <c15:datalabelsRange>
                <c15:f>Sheet1!$E$2:$E$10</c15:f>
                <c15:dlblRangeCache>
                  <c:ptCount val="9"/>
                  <c:pt idx="0">
                    <c:v>If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10"/>
          <c:min val="40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9484-46DE-A644-4CA666C763A9}"/>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9484-46DE-A644-4CA666C763A9}"/>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CBEAE7"/>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pt idx="16">
                    <c:v>Total</c:v>
                  </c:pt>
                  <c:pt idx="17">
                    <c:v>Edgewell</c:v>
                  </c:pt>
                  <c:pt idx="18">
                    <c:v>Total</c:v>
                  </c:pt>
                  <c:pt idx="19">
                    <c:v>Edgewell</c:v>
                  </c:pt>
                </c:lvl>
                <c:lvl>
                  <c:pt idx="0">
                    <c:v>Sunscreen Derma Crema</c:v>
                  </c:pt>
                  <c:pt idx="2">
                    <c:v>Sunscreen Cosmetics Crema</c:v>
                  </c:pt>
                  <c:pt idx="4">
                    <c:v>Sunscreen Cosmetics Liquido</c:v>
                  </c:pt>
                  <c:pt idx="6">
                    <c:v>Sunscreen Derma Fluido</c:v>
                  </c:pt>
                  <c:pt idx="8">
                    <c:v>Sunscreen Derma Gel</c:v>
                  </c:pt>
                  <c:pt idx="10">
                    <c:v>Sunscreen Cosmetics Gel</c:v>
                  </c:pt>
                  <c:pt idx="12">
                    <c:v>Sunscreen Derma Liquido</c:v>
                  </c:pt>
                  <c:pt idx="14">
                    <c:v>Sunscreen Sport Liquido</c:v>
                  </c:pt>
                  <c:pt idx="16">
                    <c:v>Sunscreen Sport Crema</c:v>
                  </c:pt>
                  <c:pt idx="18">
                    <c:v>Sunscreen Cosmetics Locion</c:v>
                  </c:pt>
                </c:lvl>
                <c:lvl>
                  <c:pt idx="0">
                    <c:v>Sunscreen</c:v>
                  </c:pt>
                </c:lvl>
              </c:multiLvlStrCache>
            </c:multiLvlStrRef>
          </c:cat>
          <c:val>
            <c:numRef>
              <c:f>Sheet1!$D$2:$D$21</c:f>
              <c:numCache>
                <c:formatCode>General</c:formatCode>
                <c:ptCount val="20"/>
                <c:pt idx="0">
                  <c:v>1164.0999999999999</c:v>
                </c:pt>
                <c:pt idx="1">
                  <c:v>0</c:v>
                </c:pt>
                <c:pt idx="2">
                  <c:v>664</c:v>
                </c:pt>
                <c:pt idx="3">
                  <c:v>145.4</c:v>
                </c:pt>
                <c:pt idx="4">
                  <c:v>601.20000000000005</c:v>
                </c:pt>
                <c:pt idx="5">
                  <c:v>254.9</c:v>
                </c:pt>
                <c:pt idx="6">
                  <c:v>376.6</c:v>
                </c:pt>
                <c:pt idx="7">
                  <c:v>0</c:v>
                </c:pt>
                <c:pt idx="8">
                  <c:v>316.7</c:v>
                </c:pt>
                <c:pt idx="9">
                  <c:v>0</c:v>
                </c:pt>
                <c:pt idx="10">
                  <c:v>130.4</c:v>
                </c:pt>
                <c:pt idx="11">
                  <c:v>0</c:v>
                </c:pt>
                <c:pt idx="12">
                  <c:v>116.4</c:v>
                </c:pt>
                <c:pt idx="13">
                  <c:v>0</c:v>
                </c:pt>
                <c:pt idx="14">
                  <c:v>107.9</c:v>
                </c:pt>
                <c:pt idx="15">
                  <c:v>107.5</c:v>
                </c:pt>
                <c:pt idx="16">
                  <c:v>79.2</c:v>
                </c:pt>
                <c:pt idx="17">
                  <c:v>53.4</c:v>
                </c:pt>
                <c:pt idx="18">
                  <c:v>72.2</c:v>
                </c:pt>
                <c:pt idx="19">
                  <c:v>65.09999999999999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6133.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50.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29.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09.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9484-46DE-A644-4CA666C763A9}"/>
                </c:ext>
              </c:extLst>
            </c:dLbl>
            <c:dLbl>
              <c:idx val="5"/>
              <c:tx>
                <c:rich>
                  <a:bodyPr/>
                  <a:lstStyle/>
                  <a:p>
                    <a:r>
                      <a:t>1309.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484-46DE-A644-4CA666C763A9}"/>
                </c:ext>
              </c:extLst>
            </c:dLbl>
            <c:dLbl>
              <c:idx val="6"/>
              <c:tx>
                <c:rich>
                  <a:bodyPr/>
                  <a:lstStyle/>
                  <a:p>
                    <a:r>
                      <a:t>13033.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9484-46DE-A644-4CA666C763A9}"/>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484-46DE-A644-4CA666C763A9}"/>
                </c:ext>
              </c:extLst>
            </c:dLbl>
            <c:dLbl>
              <c:idx val="8"/>
              <c:tx>
                <c:rich>
                  <a:bodyPr/>
                  <a:lstStyle/>
                  <a:p>
                    <a:r>
                      <a:t>5133.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9484-46DE-A644-4CA666C763A9}"/>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484-46DE-A644-4CA666C763A9}"/>
                </c:ext>
              </c:extLst>
            </c:dLbl>
            <c:dLbl>
              <c:idx val="10"/>
              <c:tx>
                <c:rich>
                  <a:bodyPr/>
                  <a:lstStyle/>
                  <a:p>
                    <a:r>
                      <a:t>1493.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9484-46DE-A644-4CA666C763A9}"/>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484-46DE-A644-4CA666C763A9}"/>
                </c:ext>
              </c:extLst>
            </c:dLbl>
            <c:dLbl>
              <c:idx val="12"/>
              <c:tx>
                <c:rich>
                  <a:bodyPr/>
                  <a:lstStyle/>
                  <a:p>
                    <a:r>
                      <a:t>497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9484-46DE-A644-4CA666C763A9}"/>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484-46DE-A644-4CA666C763A9}"/>
                </c:ext>
              </c:extLst>
            </c:dLbl>
            <c:dLbl>
              <c:idx val="14"/>
              <c:tx>
                <c:rich>
                  <a:bodyPr/>
                  <a:lstStyle/>
                  <a:p>
                    <a:r>
                      <a:t>1222.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9484-46DE-A644-4CA666C763A9}"/>
                </c:ext>
              </c:extLst>
            </c:dLbl>
            <c:dLbl>
              <c:idx val="15"/>
              <c:tx>
                <c:rich>
                  <a:bodyPr/>
                  <a:lstStyle/>
                  <a:p>
                    <a:r>
                      <a:t>1222.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484-46DE-A644-4CA666C763A9}"/>
                </c:ext>
              </c:extLst>
            </c:dLbl>
            <c:dLbl>
              <c:idx val="16"/>
              <c:tx>
                <c:rich>
                  <a:bodyPr/>
                  <a:lstStyle/>
                  <a:p>
                    <a:r>
                      <a:t>905.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9484-46DE-A644-4CA666C763A9}"/>
                </c:ext>
              </c:extLst>
            </c:dLbl>
            <c:dLbl>
              <c:idx val="17"/>
              <c:tx>
                <c:rich>
                  <a:bodyPr/>
                  <a:lstStyle/>
                  <a:p>
                    <a:r>
                      <a:t>1107.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484-46DE-A644-4CA666C763A9}"/>
                </c:ext>
              </c:extLst>
            </c:dLbl>
            <c:dLbl>
              <c:idx val="18"/>
              <c:tx>
                <c:rich>
                  <a:bodyPr/>
                  <a:lstStyle/>
                  <a:p>
                    <a:r>
                      <a:t>146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9484-46DE-A644-4CA666C763A9}"/>
                </c:ext>
              </c:extLst>
            </c:dLbl>
            <c:dLbl>
              <c:idx val="19"/>
              <c:tx>
                <c:rich>
                  <a:bodyPr/>
                  <a:lstStyle/>
                  <a:p>
                    <a:r>
                      <a:t>1419.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484-46DE-A644-4CA666C763A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pt idx="16">
                    <c:v>Total</c:v>
                  </c:pt>
                  <c:pt idx="17">
                    <c:v>Edgewell</c:v>
                  </c:pt>
                  <c:pt idx="18">
                    <c:v>Total</c:v>
                  </c:pt>
                  <c:pt idx="19">
                    <c:v>Edgewell</c:v>
                  </c:pt>
                </c:lvl>
                <c:lvl>
                  <c:pt idx="0">
                    <c:v>Sunscreen Derma Crema</c:v>
                  </c:pt>
                  <c:pt idx="2">
                    <c:v>Sunscreen Cosmetics Crema</c:v>
                  </c:pt>
                  <c:pt idx="4">
                    <c:v>Sunscreen Cosmetics Liquido</c:v>
                  </c:pt>
                  <c:pt idx="6">
                    <c:v>Sunscreen Derma Fluido</c:v>
                  </c:pt>
                  <c:pt idx="8">
                    <c:v>Sunscreen Derma Gel</c:v>
                  </c:pt>
                  <c:pt idx="10">
                    <c:v>Sunscreen Cosmetics Gel</c:v>
                  </c:pt>
                  <c:pt idx="12">
                    <c:v>Sunscreen Derma Liquido</c:v>
                  </c:pt>
                  <c:pt idx="14">
                    <c:v>Sunscreen Sport Liquido</c:v>
                  </c:pt>
                  <c:pt idx="16">
                    <c:v>Sunscreen Sport Crema</c:v>
                  </c:pt>
                  <c:pt idx="18">
                    <c:v>Sunscreen Cosmetics Locion</c:v>
                  </c:pt>
                </c:lvl>
                <c:lvl>
                  <c:pt idx="0">
                    <c:v>Sunscreen</c:v>
                  </c:pt>
                </c:lvl>
              </c:multiLvlStrCache>
            </c:multiLvlStrRef>
          </c:cat>
          <c:val>
            <c:numRef>
              <c:f>Sheet1!$E$2:$E$21</c:f>
              <c:numCache>
                <c:formatCode>General</c:formatCode>
                <c:ptCount val="20"/>
                <c:pt idx="0">
                  <c:v>6133.5186999999996</c:v>
                </c:pt>
                <c:pt idx="1">
                  <c:v>0</c:v>
                </c:pt>
                <c:pt idx="2">
                  <c:v>1350.7456</c:v>
                </c:pt>
                <c:pt idx="3">
                  <c:v>1129.8416</c:v>
                </c:pt>
                <c:pt idx="4">
                  <c:v>1409.1302000000001</c:v>
                </c:pt>
                <c:pt idx="5">
                  <c:v>1309.7429999999999</c:v>
                </c:pt>
                <c:pt idx="6">
                  <c:v>13033.6865</c:v>
                </c:pt>
                <c:pt idx="7">
                  <c:v>0</c:v>
                </c:pt>
                <c:pt idx="8">
                  <c:v>5133.1099000000004</c:v>
                </c:pt>
                <c:pt idx="9">
                  <c:v>0</c:v>
                </c:pt>
                <c:pt idx="10">
                  <c:v>1493.2309</c:v>
                </c:pt>
                <c:pt idx="11">
                  <c:v>0</c:v>
                </c:pt>
                <c:pt idx="12">
                  <c:v>4974.4035000000003</c:v>
                </c:pt>
                <c:pt idx="13">
                  <c:v>0</c:v>
                </c:pt>
                <c:pt idx="14">
                  <c:v>1222.8746000000001</c:v>
                </c:pt>
                <c:pt idx="15">
                  <c:v>1222.8885</c:v>
                </c:pt>
                <c:pt idx="16">
                  <c:v>905.72450000000003</c:v>
                </c:pt>
                <c:pt idx="17">
                  <c:v>1107.7528</c:v>
                </c:pt>
                <c:pt idx="18">
                  <c:v>1466.9327000000001</c:v>
                </c:pt>
                <c:pt idx="19">
                  <c:v>1419.0056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E050-4789-AE43-25FA64347605}"/>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E050-4789-AE43-25FA64347605}"/>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CBEAE7"/>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pt idx="16">
                    <c:v>Total</c:v>
                  </c:pt>
                  <c:pt idx="17">
                    <c:v>Edgewell</c:v>
                  </c:pt>
                  <c:pt idx="18">
                    <c:v>Total</c:v>
                  </c:pt>
                  <c:pt idx="19">
                    <c:v>Edgewell</c:v>
                  </c:pt>
                </c:lvl>
                <c:lvl>
                  <c:pt idx="0">
                    <c:v>Sunscreen Derma Crema</c:v>
                  </c:pt>
                  <c:pt idx="2">
                    <c:v>Sunscreen Cosmetics Crema</c:v>
                  </c:pt>
                  <c:pt idx="4">
                    <c:v>Sunscreen Cosmetics Liquido</c:v>
                  </c:pt>
                  <c:pt idx="6">
                    <c:v>Sunscreen Derma Fluido</c:v>
                  </c:pt>
                  <c:pt idx="8">
                    <c:v>Sunscreen Derma Gel</c:v>
                  </c:pt>
                  <c:pt idx="10">
                    <c:v>Sunscreen Cosmetics Gel</c:v>
                  </c:pt>
                  <c:pt idx="12">
                    <c:v>Sunscreen Derma Liquido</c:v>
                  </c:pt>
                  <c:pt idx="14">
                    <c:v>Sunscreen Sport Liquido</c:v>
                  </c:pt>
                  <c:pt idx="16">
                    <c:v>Sunscreen Sport Crema</c:v>
                  </c:pt>
                  <c:pt idx="18">
                    <c:v>Sunscreen Cosmetics Locion</c:v>
                  </c:pt>
                </c:lvl>
                <c:lvl>
                  <c:pt idx="0">
                    <c:v>Sunscreen</c:v>
                  </c:pt>
                </c:lvl>
              </c:multiLvlStrCache>
            </c:multiLvlStrRef>
          </c:cat>
          <c:val>
            <c:numRef>
              <c:f>Sheet1!$D$2:$D$21</c:f>
              <c:numCache>
                <c:formatCode>General</c:formatCode>
                <c:ptCount val="20"/>
                <c:pt idx="0">
                  <c:v>1029.7</c:v>
                </c:pt>
                <c:pt idx="1">
                  <c:v>0</c:v>
                </c:pt>
                <c:pt idx="2">
                  <c:v>590.6</c:v>
                </c:pt>
                <c:pt idx="3">
                  <c:v>139.5</c:v>
                </c:pt>
                <c:pt idx="4">
                  <c:v>555.1</c:v>
                </c:pt>
                <c:pt idx="5">
                  <c:v>245.9</c:v>
                </c:pt>
                <c:pt idx="6">
                  <c:v>333.5</c:v>
                </c:pt>
                <c:pt idx="7">
                  <c:v>0</c:v>
                </c:pt>
                <c:pt idx="8">
                  <c:v>291.60000000000002</c:v>
                </c:pt>
                <c:pt idx="9">
                  <c:v>0</c:v>
                </c:pt>
                <c:pt idx="10">
                  <c:v>122.1</c:v>
                </c:pt>
                <c:pt idx="11">
                  <c:v>0</c:v>
                </c:pt>
                <c:pt idx="12">
                  <c:v>111</c:v>
                </c:pt>
                <c:pt idx="13">
                  <c:v>0</c:v>
                </c:pt>
                <c:pt idx="14">
                  <c:v>104.8</c:v>
                </c:pt>
                <c:pt idx="15">
                  <c:v>104.4</c:v>
                </c:pt>
                <c:pt idx="16">
                  <c:v>74.599999999999994</c:v>
                </c:pt>
                <c:pt idx="17">
                  <c:v>50.7</c:v>
                </c:pt>
                <c:pt idx="18">
                  <c:v>68.3</c:v>
                </c:pt>
                <c:pt idx="19">
                  <c:v>61.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6653.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5.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44.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2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E050-4789-AE43-25FA64347605}"/>
                </c:ext>
              </c:extLst>
            </c:dLbl>
            <c:dLbl>
              <c:idx val="5"/>
              <c:tx>
                <c:rich>
                  <a:bodyPr/>
                  <a:lstStyle/>
                  <a:p>
                    <a:r>
                      <a:t>1328.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E050-4789-AE43-25FA64347605}"/>
                </c:ext>
              </c:extLst>
            </c:dLbl>
            <c:dLbl>
              <c:idx val="6"/>
              <c:tx>
                <c:rich>
                  <a:bodyPr/>
                  <a:lstStyle/>
                  <a:p>
                    <a:r>
                      <a:t>13590.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E050-4789-AE43-25FA64347605}"/>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E050-4789-AE43-25FA64347605}"/>
                </c:ext>
              </c:extLst>
            </c:dLbl>
            <c:dLbl>
              <c:idx val="8"/>
              <c:tx>
                <c:rich>
                  <a:bodyPr/>
                  <a:lstStyle/>
                  <a:p>
                    <a:r>
                      <a:t>5153.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E050-4789-AE43-25FA64347605}"/>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E050-4789-AE43-25FA64347605}"/>
                </c:ext>
              </c:extLst>
            </c:dLbl>
            <c:dLbl>
              <c:idx val="10"/>
              <c:tx>
                <c:rich>
                  <a:bodyPr/>
                  <a:lstStyle/>
                  <a:p>
                    <a:r>
                      <a:t>1485.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E050-4789-AE43-25FA64347605}"/>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E050-4789-AE43-25FA64347605}"/>
                </c:ext>
              </c:extLst>
            </c:dLbl>
            <c:dLbl>
              <c:idx val="12"/>
              <c:tx>
                <c:rich>
                  <a:bodyPr/>
                  <a:lstStyle/>
                  <a:p>
                    <a:r>
                      <a:t>5157.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E050-4789-AE43-25FA64347605}"/>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E050-4789-AE43-25FA64347605}"/>
                </c:ext>
              </c:extLst>
            </c:dLbl>
            <c:dLbl>
              <c:idx val="14"/>
              <c:tx>
                <c:rich>
                  <a:bodyPr/>
                  <a:lstStyle/>
                  <a:p>
                    <a:r>
                      <a:t>123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E050-4789-AE43-25FA64347605}"/>
                </c:ext>
              </c:extLst>
            </c:dLbl>
            <c:dLbl>
              <c:idx val="15"/>
              <c:tx>
                <c:rich>
                  <a:bodyPr/>
                  <a:lstStyle/>
                  <a:p>
                    <a:r>
                      <a:t>1235.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E050-4789-AE43-25FA64347605}"/>
                </c:ext>
              </c:extLst>
            </c:dLbl>
            <c:dLbl>
              <c:idx val="16"/>
              <c:tx>
                <c:rich>
                  <a:bodyPr/>
                  <a:lstStyle/>
                  <a:p>
                    <a:r>
                      <a:t>920.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E050-4789-AE43-25FA64347605}"/>
                </c:ext>
              </c:extLst>
            </c:dLbl>
            <c:dLbl>
              <c:idx val="17"/>
              <c:tx>
                <c:rich>
                  <a:bodyPr/>
                  <a:lstStyle/>
                  <a:p>
                    <a:r>
                      <a:t>1122.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E050-4789-AE43-25FA64347605}"/>
                </c:ext>
              </c:extLst>
            </c:dLbl>
            <c:dLbl>
              <c:idx val="18"/>
              <c:tx>
                <c:rich>
                  <a:bodyPr/>
                  <a:lstStyle/>
                  <a:p>
                    <a:r>
                      <a:t>1497.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E050-4789-AE43-25FA64347605}"/>
                </c:ext>
              </c:extLst>
            </c:dLbl>
            <c:dLbl>
              <c:idx val="19"/>
              <c:tx>
                <c:rich>
                  <a:bodyPr/>
                  <a:lstStyle/>
                  <a:p>
                    <a:r>
                      <a:t>1436.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E050-4789-AE43-25FA6434760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pt idx="16">
                    <c:v>Total</c:v>
                  </c:pt>
                  <c:pt idx="17">
                    <c:v>Edgewell</c:v>
                  </c:pt>
                  <c:pt idx="18">
                    <c:v>Total</c:v>
                  </c:pt>
                  <c:pt idx="19">
                    <c:v>Edgewell</c:v>
                  </c:pt>
                </c:lvl>
                <c:lvl>
                  <c:pt idx="0">
                    <c:v>Sunscreen Derma Crema</c:v>
                  </c:pt>
                  <c:pt idx="2">
                    <c:v>Sunscreen Cosmetics Crema</c:v>
                  </c:pt>
                  <c:pt idx="4">
                    <c:v>Sunscreen Cosmetics Liquido</c:v>
                  </c:pt>
                  <c:pt idx="6">
                    <c:v>Sunscreen Derma Fluido</c:v>
                  </c:pt>
                  <c:pt idx="8">
                    <c:v>Sunscreen Derma Gel</c:v>
                  </c:pt>
                  <c:pt idx="10">
                    <c:v>Sunscreen Cosmetics Gel</c:v>
                  </c:pt>
                  <c:pt idx="12">
                    <c:v>Sunscreen Derma Liquido</c:v>
                  </c:pt>
                  <c:pt idx="14">
                    <c:v>Sunscreen Sport Liquido</c:v>
                  </c:pt>
                  <c:pt idx="16">
                    <c:v>Sunscreen Sport Crema</c:v>
                  </c:pt>
                  <c:pt idx="18">
                    <c:v>Sunscreen Cosmetics Locion</c:v>
                  </c:pt>
                </c:lvl>
                <c:lvl>
                  <c:pt idx="0">
                    <c:v>Sunscreen</c:v>
                  </c:pt>
                </c:lvl>
              </c:multiLvlStrCache>
            </c:multiLvlStrRef>
          </c:cat>
          <c:val>
            <c:numRef>
              <c:f>Sheet1!$E$2:$E$21</c:f>
              <c:numCache>
                <c:formatCode>General</c:formatCode>
                <c:ptCount val="20"/>
                <c:pt idx="0">
                  <c:v>6653.6706999999997</c:v>
                </c:pt>
                <c:pt idx="1">
                  <c:v>0</c:v>
                </c:pt>
                <c:pt idx="2">
                  <c:v>1385.6142</c:v>
                </c:pt>
                <c:pt idx="3">
                  <c:v>1144.8834999999999</c:v>
                </c:pt>
                <c:pt idx="4">
                  <c:v>1422.7560000000001</c:v>
                </c:pt>
                <c:pt idx="5">
                  <c:v>1328.7817</c:v>
                </c:pt>
                <c:pt idx="6">
                  <c:v>13590.282999999999</c:v>
                </c:pt>
                <c:pt idx="7">
                  <c:v>0</c:v>
                </c:pt>
                <c:pt idx="8">
                  <c:v>5153.4772999999996</c:v>
                </c:pt>
                <c:pt idx="9">
                  <c:v>0</c:v>
                </c:pt>
                <c:pt idx="10">
                  <c:v>1485.1694</c:v>
                </c:pt>
                <c:pt idx="11">
                  <c:v>0</c:v>
                </c:pt>
                <c:pt idx="12">
                  <c:v>5157.1587</c:v>
                </c:pt>
                <c:pt idx="13">
                  <c:v>0</c:v>
                </c:pt>
                <c:pt idx="14">
                  <c:v>1235.0662</c:v>
                </c:pt>
                <c:pt idx="15">
                  <c:v>1235.0396000000001</c:v>
                </c:pt>
                <c:pt idx="16">
                  <c:v>920.01750000000004</c:v>
                </c:pt>
                <c:pt idx="17">
                  <c:v>1122.9501</c:v>
                </c:pt>
                <c:pt idx="18">
                  <c:v>1497.0805</c:v>
                </c:pt>
                <c:pt idx="19">
                  <c:v>1436.518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AEC0-4D35-BF9C-8BE300880837}"/>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AEC0-4D35-BF9C-8BE300880837}"/>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pt idx="16">
                    <c:v>Total</c:v>
                  </c:pt>
                  <c:pt idx="17">
                    <c:v>Edgewell</c:v>
                  </c:pt>
                </c:lvl>
                <c:lvl>
                  <c:pt idx="0">
                    <c:v>Sunscreen Derma Crema</c:v>
                  </c:pt>
                  <c:pt idx="2">
                    <c:v>Sunscreen Derma Fluido</c:v>
                  </c:pt>
                  <c:pt idx="4">
                    <c:v>Sunscreen Derma Gel</c:v>
                  </c:pt>
                  <c:pt idx="6">
                    <c:v>Sunscreen Cosmetics Liquido</c:v>
                  </c:pt>
                  <c:pt idx="8">
                    <c:v>Sunscreen Cosmetics Crema</c:v>
                  </c:pt>
                  <c:pt idx="10">
                    <c:v>Sunscreen Derma Liquido</c:v>
                  </c:pt>
                  <c:pt idx="12">
                    <c:v>Sunscreen Derma Aceite</c:v>
                  </c:pt>
                  <c:pt idx="14">
                    <c:v>Sunscreen Derma Gel-Crema</c:v>
                  </c:pt>
                  <c:pt idx="16">
                    <c:v>Sunscreen Sport Liquido</c:v>
                  </c:pt>
                </c:lvl>
                <c:lvl>
                  <c:pt idx="0">
                    <c:v>Sunscreen</c:v>
                  </c:pt>
                </c:lvl>
              </c:multiLvlStrCache>
            </c:multiLvlStrRef>
          </c:cat>
          <c:val>
            <c:numRef>
              <c:f>Sheet1!$D$2:$D$19</c:f>
              <c:numCache>
                <c:formatCode>General</c:formatCode>
                <c:ptCount val="18"/>
                <c:pt idx="0">
                  <c:v>767.9</c:v>
                </c:pt>
                <c:pt idx="1">
                  <c:v>0</c:v>
                </c:pt>
                <c:pt idx="2">
                  <c:v>288.60000000000002</c:v>
                </c:pt>
                <c:pt idx="3">
                  <c:v>0</c:v>
                </c:pt>
                <c:pt idx="4">
                  <c:v>253</c:v>
                </c:pt>
                <c:pt idx="5">
                  <c:v>0</c:v>
                </c:pt>
                <c:pt idx="6">
                  <c:v>168.8</c:v>
                </c:pt>
                <c:pt idx="7">
                  <c:v>67.3</c:v>
                </c:pt>
                <c:pt idx="8">
                  <c:v>148.9</c:v>
                </c:pt>
                <c:pt idx="9">
                  <c:v>35.299999999999997</c:v>
                </c:pt>
                <c:pt idx="10">
                  <c:v>75.400000000000006</c:v>
                </c:pt>
                <c:pt idx="11">
                  <c:v>0</c:v>
                </c:pt>
                <c:pt idx="12">
                  <c:v>51.4</c:v>
                </c:pt>
                <c:pt idx="13">
                  <c:v>0</c:v>
                </c:pt>
                <c:pt idx="14">
                  <c:v>38.9</c:v>
                </c:pt>
                <c:pt idx="15">
                  <c:v>0</c:v>
                </c:pt>
                <c:pt idx="16">
                  <c:v>32.299999999999997</c:v>
                </c:pt>
                <c:pt idx="17">
                  <c:v>32.20000000000000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8438.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71.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533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EC0-4D35-BF9C-8BE300880837}"/>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EC0-4D35-BF9C-8BE300880837}"/>
                </c:ext>
              </c:extLst>
            </c:dLbl>
            <c:dLbl>
              <c:idx val="6"/>
              <c:tx>
                <c:rich>
                  <a:bodyPr/>
                  <a:lstStyle/>
                  <a:p>
                    <a:r>
                      <a:t>1690.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EC0-4D35-BF9C-8BE300880837}"/>
                </c:ext>
              </c:extLst>
            </c:dLbl>
            <c:dLbl>
              <c:idx val="7"/>
              <c:tx>
                <c:rich>
                  <a:bodyPr/>
                  <a:lstStyle/>
                  <a:p>
                    <a:r>
                      <a:t>1363.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EC0-4D35-BF9C-8BE300880837}"/>
                </c:ext>
              </c:extLst>
            </c:dLbl>
            <c:dLbl>
              <c:idx val="8"/>
              <c:tx>
                <c:rich>
                  <a:bodyPr/>
                  <a:lstStyle/>
                  <a:p>
                    <a:r>
                      <a:t>1689.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EC0-4D35-BF9C-8BE300880837}"/>
                </c:ext>
              </c:extLst>
            </c:dLbl>
            <c:dLbl>
              <c:idx val="9"/>
              <c:tx>
                <c:rich>
                  <a:bodyPr/>
                  <a:lstStyle/>
                  <a:p>
                    <a:r>
                      <a:t>1228.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EC0-4D35-BF9C-8BE300880837}"/>
                </c:ext>
              </c:extLst>
            </c:dLbl>
            <c:dLbl>
              <c:idx val="10"/>
              <c:tx>
                <c:rich>
                  <a:bodyPr/>
                  <a:lstStyle/>
                  <a:p>
                    <a:r>
                      <a:t>5083.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EC0-4D35-BF9C-8BE300880837}"/>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EC0-4D35-BF9C-8BE300880837}"/>
                </c:ext>
              </c:extLst>
            </c:dLbl>
            <c:dLbl>
              <c:idx val="12"/>
              <c:tx>
                <c:rich>
                  <a:bodyPr/>
                  <a:lstStyle/>
                  <a:p>
                    <a:r>
                      <a:t>4481.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EC0-4D35-BF9C-8BE300880837}"/>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EC0-4D35-BF9C-8BE300880837}"/>
                </c:ext>
              </c:extLst>
            </c:dLbl>
            <c:dLbl>
              <c:idx val="14"/>
              <c:tx>
                <c:rich>
                  <a:bodyPr/>
                  <a:lstStyle/>
                  <a:p>
                    <a:r>
                      <a:t>10908.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EC0-4D35-BF9C-8BE300880837}"/>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EC0-4D35-BF9C-8BE300880837}"/>
                </c:ext>
              </c:extLst>
            </c:dLbl>
            <c:dLbl>
              <c:idx val="16"/>
              <c:tx>
                <c:rich>
                  <a:bodyPr/>
                  <a:lstStyle/>
                  <a:p>
                    <a:r>
                      <a:t>1336.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EC0-4D35-BF9C-8BE300880837}"/>
                </c:ext>
              </c:extLst>
            </c:dLbl>
            <c:dLbl>
              <c:idx val="17"/>
              <c:tx>
                <c:rich>
                  <a:bodyPr/>
                  <a:lstStyle/>
                  <a:p>
                    <a:r>
                      <a:t>1337.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EC0-4D35-BF9C-8BE30088083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pt idx="16">
                    <c:v>Total</c:v>
                  </c:pt>
                  <c:pt idx="17">
                    <c:v>Edgewell</c:v>
                  </c:pt>
                </c:lvl>
                <c:lvl>
                  <c:pt idx="0">
                    <c:v>Sunscreen Derma Crema</c:v>
                  </c:pt>
                  <c:pt idx="2">
                    <c:v>Sunscreen Derma Fluido</c:v>
                  </c:pt>
                  <c:pt idx="4">
                    <c:v>Sunscreen Derma Gel</c:v>
                  </c:pt>
                  <c:pt idx="6">
                    <c:v>Sunscreen Cosmetics Liquido</c:v>
                  </c:pt>
                  <c:pt idx="8">
                    <c:v>Sunscreen Cosmetics Crema</c:v>
                  </c:pt>
                  <c:pt idx="10">
                    <c:v>Sunscreen Derma Liquido</c:v>
                  </c:pt>
                  <c:pt idx="12">
                    <c:v>Sunscreen Derma Aceite</c:v>
                  </c:pt>
                  <c:pt idx="14">
                    <c:v>Sunscreen Derma Gel-Crema</c:v>
                  </c:pt>
                  <c:pt idx="16">
                    <c:v>Sunscreen Sport Liquido</c:v>
                  </c:pt>
                </c:lvl>
                <c:lvl>
                  <c:pt idx="0">
                    <c:v>Sunscreen</c:v>
                  </c:pt>
                </c:lvl>
              </c:multiLvlStrCache>
            </c:multiLvlStrRef>
          </c:cat>
          <c:val>
            <c:numRef>
              <c:f>Sheet1!$E$2:$E$19</c:f>
              <c:numCache>
                <c:formatCode>General</c:formatCode>
                <c:ptCount val="18"/>
                <c:pt idx="0">
                  <c:v>8438.1460999999999</c:v>
                </c:pt>
                <c:pt idx="1">
                  <c:v>0</c:v>
                </c:pt>
                <c:pt idx="2">
                  <c:v>13871.3526</c:v>
                </c:pt>
                <c:pt idx="3">
                  <c:v>0</c:v>
                </c:pt>
                <c:pt idx="4">
                  <c:v>5330.2659999999996</c:v>
                </c:pt>
                <c:pt idx="5">
                  <c:v>0</c:v>
                </c:pt>
                <c:pt idx="6">
                  <c:v>1690.0078000000001</c:v>
                </c:pt>
                <c:pt idx="7">
                  <c:v>1363.1550999999999</c:v>
                </c:pt>
                <c:pt idx="8">
                  <c:v>1689.6541999999999</c:v>
                </c:pt>
                <c:pt idx="9">
                  <c:v>1227.9978000000001</c:v>
                </c:pt>
                <c:pt idx="10">
                  <c:v>5083.5600999999997</c:v>
                </c:pt>
                <c:pt idx="11">
                  <c:v>0</c:v>
                </c:pt>
                <c:pt idx="12">
                  <c:v>4481.5495000000001</c:v>
                </c:pt>
                <c:pt idx="13">
                  <c:v>0</c:v>
                </c:pt>
                <c:pt idx="14">
                  <c:v>10908.8266</c:v>
                </c:pt>
                <c:pt idx="15">
                  <c:v>0</c:v>
                </c:pt>
                <c:pt idx="16">
                  <c:v>1336.8777</c:v>
                </c:pt>
                <c:pt idx="17">
                  <c:v>1337.584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B9D7-46A9-B607-39A7F8B1BFE8}"/>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B9D7-46A9-B607-39A7F8B1BFE8}"/>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CBEAE7"/>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pt idx="16">
                    <c:v>Total</c:v>
                  </c:pt>
                  <c:pt idx="17">
                    <c:v>Edgewell</c:v>
                  </c:pt>
                  <c:pt idx="18">
                    <c:v>Total</c:v>
                  </c:pt>
                  <c:pt idx="19">
                    <c:v>Edgewell</c:v>
                  </c:pt>
                </c:lvl>
                <c:lvl>
                  <c:pt idx="0">
                    <c:v>Sunscreen Cosmetics Crema</c:v>
                  </c:pt>
                  <c:pt idx="2">
                    <c:v>Sunscreen Derma Crema</c:v>
                  </c:pt>
                  <c:pt idx="4">
                    <c:v>Sunscreen Cosmetics Liquido</c:v>
                  </c:pt>
                  <c:pt idx="6">
                    <c:v>Sunscreen Cosmetics Gel</c:v>
                  </c:pt>
                  <c:pt idx="8">
                    <c:v>Sunscreen Sport Crema</c:v>
                  </c:pt>
                  <c:pt idx="10">
                    <c:v>Sunscreen Derma Gel</c:v>
                  </c:pt>
                  <c:pt idx="12">
                    <c:v>Sunscreen Sport Liquido</c:v>
                  </c:pt>
                  <c:pt idx="14">
                    <c:v>Sunscreen Cosmetics Locion</c:v>
                  </c:pt>
                  <c:pt idx="16">
                    <c:v>Sunscreen Cosmetics Spray</c:v>
                  </c:pt>
                  <c:pt idx="18">
                    <c:v>Sunscreen Derma Fluido</c:v>
                  </c:pt>
                </c:lvl>
                <c:lvl>
                  <c:pt idx="0">
                    <c:v>Sunscreen</c:v>
                  </c:pt>
                </c:lvl>
              </c:multiLvlStrCache>
            </c:multiLvlStrRef>
          </c:cat>
          <c:val>
            <c:numRef>
              <c:f>Sheet1!$D$2:$D$21</c:f>
              <c:numCache>
                <c:formatCode>General</c:formatCode>
                <c:ptCount val="20"/>
                <c:pt idx="0">
                  <c:v>10</c:v>
                </c:pt>
                <c:pt idx="1">
                  <c:v>1.4</c:v>
                </c:pt>
                <c:pt idx="2">
                  <c:v>5.5</c:v>
                </c:pt>
                <c:pt idx="3">
                  <c:v>0</c:v>
                </c:pt>
                <c:pt idx="4">
                  <c:v>4.9000000000000004</c:v>
                </c:pt>
                <c:pt idx="5">
                  <c:v>0.5</c:v>
                </c:pt>
                <c:pt idx="6">
                  <c:v>1.2</c:v>
                </c:pt>
                <c:pt idx="7">
                  <c:v>0</c:v>
                </c:pt>
                <c:pt idx="8">
                  <c:v>0.9</c:v>
                </c:pt>
                <c:pt idx="9">
                  <c:v>0.2</c:v>
                </c:pt>
                <c:pt idx="10">
                  <c:v>0.7</c:v>
                </c:pt>
                <c:pt idx="11">
                  <c:v>0</c:v>
                </c:pt>
                <c:pt idx="12">
                  <c:v>0.4</c:v>
                </c:pt>
                <c:pt idx="13">
                  <c:v>0.4</c:v>
                </c:pt>
                <c:pt idx="14">
                  <c:v>0.3</c:v>
                </c:pt>
                <c:pt idx="15">
                  <c:v>0.3</c:v>
                </c:pt>
                <c:pt idx="16">
                  <c:v>0.3</c:v>
                </c:pt>
                <c:pt idx="17">
                  <c:v>0</c:v>
                </c:pt>
                <c:pt idx="18">
                  <c:v>0.3</c:v>
                </c:pt>
                <c:pt idx="1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24.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007.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094.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379.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B9D7-46A9-B607-39A7F8B1BFE8}"/>
                </c:ext>
              </c:extLst>
            </c:dLbl>
            <c:dLbl>
              <c:idx val="5"/>
              <c:tx>
                <c:rich>
                  <a:bodyPr/>
                  <a:lstStyle/>
                  <a:p>
                    <a:r>
                      <a:t>134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B9D7-46A9-B607-39A7F8B1BFE8}"/>
                </c:ext>
              </c:extLst>
            </c:dLbl>
            <c:dLbl>
              <c:idx val="6"/>
              <c:tx>
                <c:rich>
                  <a:bodyPr/>
                  <a:lstStyle/>
                  <a:p>
                    <a:r>
                      <a:t>1828.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B9D7-46A9-B607-39A7F8B1BFE8}"/>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B9D7-46A9-B607-39A7F8B1BFE8}"/>
                </c:ext>
              </c:extLst>
            </c:dLbl>
            <c:dLbl>
              <c:idx val="8"/>
              <c:tx>
                <c:rich>
                  <a:bodyPr/>
                  <a:lstStyle/>
                  <a:p>
                    <a:r>
                      <a:t>68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B9D7-46A9-B607-39A7F8B1BFE8}"/>
                </c:ext>
              </c:extLst>
            </c:dLbl>
            <c:dLbl>
              <c:idx val="9"/>
              <c:tx>
                <c:rich>
                  <a:bodyPr/>
                  <a:lstStyle/>
                  <a:p>
                    <a:r>
                      <a:t>1167.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B9D7-46A9-B607-39A7F8B1BFE8}"/>
                </c:ext>
              </c:extLst>
            </c:dLbl>
            <c:dLbl>
              <c:idx val="10"/>
              <c:tx>
                <c:rich>
                  <a:bodyPr/>
                  <a:lstStyle/>
                  <a:p>
                    <a:r>
                      <a:t>1874.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B9D7-46A9-B607-39A7F8B1BFE8}"/>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B9D7-46A9-B607-39A7F8B1BFE8}"/>
                </c:ext>
              </c:extLst>
            </c:dLbl>
            <c:dLbl>
              <c:idx val="12"/>
              <c:tx>
                <c:rich>
                  <a:bodyPr/>
                  <a:lstStyle/>
                  <a:p>
                    <a:r>
                      <a:t>1045.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B9D7-46A9-B607-39A7F8B1BFE8}"/>
                </c:ext>
              </c:extLst>
            </c:dLbl>
            <c:dLbl>
              <c:idx val="13"/>
              <c:tx>
                <c:rich>
                  <a:bodyPr/>
                  <a:lstStyle/>
                  <a:p>
                    <a:r>
                      <a:t>1045.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B9D7-46A9-B607-39A7F8B1BFE8}"/>
                </c:ext>
              </c:extLst>
            </c:dLbl>
            <c:dLbl>
              <c:idx val="14"/>
              <c:tx>
                <c:rich>
                  <a:bodyPr/>
                  <a:lstStyle/>
                  <a:p>
                    <a:r>
                      <a:t>2064.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B9D7-46A9-B607-39A7F8B1BFE8}"/>
                </c:ext>
              </c:extLst>
            </c:dLbl>
            <c:dLbl>
              <c:idx val="15"/>
              <c:tx>
                <c:rich>
                  <a:bodyPr/>
                  <a:lstStyle/>
                  <a:p>
                    <a:r>
                      <a:t>2099.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B9D7-46A9-B607-39A7F8B1BFE8}"/>
                </c:ext>
              </c:extLst>
            </c:dLbl>
            <c:dLbl>
              <c:idx val="16"/>
              <c:tx>
                <c:rich>
                  <a:bodyPr/>
                  <a:lstStyle/>
                  <a:p>
                    <a:r>
                      <a:t>768.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B9D7-46A9-B607-39A7F8B1BFE8}"/>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B9D7-46A9-B607-39A7F8B1BFE8}"/>
                </c:ext>
              </c:extLst>
            </c:dLbl>
            <c:dLbl>
              <c:idx val="18"/>
              <c:tx>
                <c:rich>
                  <a:bodyPr/>
                  <a:lstStyle/>
                  <a:p>
                    <a:r>
                      <a:t>13214.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B9D7-46A9-B607-39A7F8B1BFE8}"/>
                </c:ext>
              </c:extLst>
            </c:dLbl>
            <c:dLbl>
              <c:idx val="1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B9D7-46A9-B607-39A7F8B1BFE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pt idx="16">
                    <c:v>Total</c:v>
                  </c:pt>
                  <c:pt idx="17">
                    <c:v>Edgewell</c:v>
                  </c:pt>
                  <c:pt idx="18">
                    <c:v>Total</c:v>
                  </c:pt>
                  <c:pt idx="19">
                    <c:v>Edgewell</c:v>
                  </c:pt>
                </c:lvl>
                <c:lvl>
                  <c:pt idx="0">
                    <c:v>Sunscreen Cosmetics Crema</c:v>
                  </c:pt>
                  <c:pt idx="2">
                    <c:v>Sunscreen Derma Crema</c:v>
                  </c:pt>
                  <c:pt idx="4">
                    <c:v>Sunscreen Cosmetics Liquido</c:v>
                  </c:pt>
                  <c:pt idx="6">
                    <c:v>Sunscreen Cosmetics Gel</c:v>
                  </c:pt>
                  <c:pt idx="8">
                    <c:v>Sunscreen Sport Crema</c:v>
                  </c:pt>
                  <c:pt idx="10">
                    <c:v>Sunscreen Derma Gel</c:v>
                  </c:pt>
                  <c:pt idx="12">
                    <c:v>Sunscreen Sport Liquido</c:v>
                  </c:pt>
                  <c:pt idx="14">
                    <c:v>Sunscreen Cosmetics Locion</c:v>
                  </c:pt>
                  <c:pt idx="16">
                    <c:v>Sunscreen Cosmetics Spray</c:v>
                  </c:pt>
                  <c:pt idx="18">
                    <c:v>Sunscreen Derma Fluido</c:v>
                  </c:pt>
                </c:lvl>
                <c:lvl>
                  <c:pt idx="0">
                    <c:v>Sunscreen</c:v>
                  </c:pt>
                </c:lvl>
              </c:multiLvlStrCache>
            </c:multiLvlStrRef>
          </c:cat>
          <c:val>
            <c:numRef>
              <c:f>Sheet1!$E$2:$E$21</c:f>
              <c:numCache>
                <c:formatCode>General</c:formatCode>
                <c:ptCount val="20"/>
                <c:pt idx="0">
                  <c:v>1124.7882999999999</c:v>
                </c:pt>
                <c:pt idx="1">
                  <c:v>1007.6749</c:v>
                </c:pt>
                <c:pt idx="2">
                  <c:v>2094.5299</c:v>
                </c:pt>
                <c:pt idx="3">
                  <c:v>0</c:v>
                </c:pt>
                <c:pt idx="4">
                  <c:v>1379.1510000000001</c:v>
                </c:pt>
                <c:pt idx="5">
                  <c:v>1340.5974000000001</c:v>
                </c:pt>
                <c:pt idx="6">
                  <c:v>1828.0789</c:v>
                </c:pt>
                <c:pt idx="7">
                  <c:v>0</c:v>
                </c:pt>
                <c:pt idx="8">
                  <c:v>686.49839999999995</c:v>
                </c:pt>
                <c:pt idx="9">
                  <c:v>1167.4550999999999</c:v>
                </c:pt>
                <c:pt idx="10">
                  <c:v>1874.1895999999999</c:v>
                </c:pt>
                <c:pt idx="11">
                  <c:v>0</c:v>
                </c:pt>
                <c:pt idx="12">
                  <c:v>1045.0170000000001</c:v>
                </c:pt>
                <c:pt idx="13">
                  <c:v>1045.0170000000001</c:v>
                </c:pt>
                <c:pt idx="14">
                  <c:v>2064.5149999999999</c:v>
                </c:pt>
                <c:pt idx="15">
                  <c:v>2099.7568000000001</c:v>
                </c:pt>
                <c:pt idx="16">
                  <c:v>768.51900000000001</c:v>
                </c:pt>
                <c:pt idx="17">
                  <c:v>0</c:v>
                </c:pt>
                <c:pt idx="18">
                  <c:v>13214.6818</c:v>
                </c:pt>
                <c:pt idx="1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B3C7DD3-C946-4EEE-8DE1-ED29F8F52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9C3FAED5-0632-4739-8AB4-D07B8E468C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CFC3B4EA-2C7F-4883-9510-A7C686388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B1C448BB-486B-4761-8418-2D0C317726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08615041-8F52-4392-A125-297FC503A1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D3AA8B6D-F2FD-4D10-9086-822B65B99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C445044F-188D-4975-AC8A-F0CC346D23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5E78FED5-A705-4CD8-89B9-2D1162D1B5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50.43579999999997</c:v>
                </c:pt>
              </c:numCache>
            </c:numRef>
          </c:xVal>
          <c:yVal>
            <c:numRef>
              <c:f>Sheet1!$B$2:$B$2</c:f>
              <c:numCache>
                <c:formatCode>General</c:formatCode>
                <c:ptCount val="1"/>
                <c:pt idx="0">
                  <c:v>1</c:v>
                </c:pt>
              </c:numCache>
            </c:numRef>
          </c:yVal>
          <c:bubbleSize>
            <c:numRef>
              <c:f>Sheet1!$C$2:$C$2</c:f>
              <c:numCache>
                <c:formatCode>General</c:formatCode>
                <c:ptCount val="1"/>
                <c:pt idx="0">
                  <c:v>12639657</c:v>
                </c:pt>
              </c:numCache>
            </c:numRef>
          </c:bubbleSize>
          <c:bubble3D val="0"/>
          <c:extLst>
            <c:ext xmlns:c15="http://schemas.microsoft.com/office/drawing/2012/chart" uri="{02D57815-91ED-43cb-92C2-25804820EDAC}">
              <c15:datalabelsRange>
                <c15:f>Sheet1!$E$2:$E$10</c15:f>
                <c15:dlblRangeCache>
                  <c:ptCount val="9"/>
                  <c:pt idx="0">
                    <c:v>Helioca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1"/>
          <c:min val="44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C5A3-42EA-93D4-1A9E958A4378}"/>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C5A3-42EA-93D4-1A9E958A4378}"/>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CBEAE7"/>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pt idx="16">
                    <c:v>Total</c:v>
                  </c:pt>
                  <c:pt idx="17">
                    <c:v>Edgewell</c:v>
                  </c:pt>
                  <c:pt idx="18">
                    <c:v>Total</c:v>
                  </c:pt>
                  <c:pt idx="19">
                    <c:v>Edgewell</c:v>
                  </c:pt>
                </c:lvl>
                <c:lvl>
                  <c:pt idx="0">
                    <c:v>Sunscreen Cosmetics Crema</c:v>
                  </c:pt>
                  <c:pt idx="2">
                    <c:v>Sunscreen Cosmetics Liquido</c:v>
                  </c:pt>
                  <c:pt idx="4">
                    <c:v>Sunscreen Derma Crema</c:v>
                  </c:pt>
                  <c:pt idx="6">
                    <c:v>Sunscreen Cosmetics Gel</c:v>
                  </c:pt>
                  <c:pt idx="8">
                    <c:v>Sunscreen Sport Liquido</c:v>
                  </c:pt>
                  <c:pt idx="10">
                    <c:v>Sunscreen Sport Crema</c:v>
                  </c:pt>
                  <c:pt idx="12">
                    <c:v>Sunscreen Cosmetics Locion</c:v>
                  </c:pt>
                  <c:pt idx="14">
                    <c:v>Sunscreen Derma Fluido</c:v>
                  </c:pt>
                  <c:pt idx="16">
                    <c:v>Sunscreen Derma Gel</c:v>
                  </c:pt>
                  <c:pt idx="18">
                    <c:v>Sunscreen Derma Liquido</c:v>
                  </c:pt>
                </c:lvl>
                <c:lvl>
                  <c:pt idx="0">
                    <c:v>Sunscreen</c:v>
                  </c:pt>
                </c:lvl>
              </c:multiLvlStrCache>
            </c:multiLvlStrRef>
          </c:cat>
          <c:val>
            <c:numRef>
              <c:f>Sheet1!$D$2:$D$21</c:f>
              <c:numCache>
                <c:formatCode>General</c:formatCode>
                <c:ptCount val="20"/>
                <c:pt idx="0">
                  <c:v>440.2</c:v>
                </c:pt>
                <c:pt idx="1">
                  <c:v>104</c:v>
                </c:pt>
                <c:pt idx="2">
                  <c:v>384.5</c:v>
                </c:pt>
                <c:pt idx="3">
                  <c:v>178.3</c:v>
                </c:pt>
                <c:pt idx="4">
                  <c:v>261.7</c:v>
                </c:pt>
                <c:pt idx="5">
                  <c:v>0</c:v>
                </c:pt>
                <c:pt idx="6">
                  <c:v>91.2</c:v>
                </c:pt>
                <c:pt idx="7">
                  <c:v>0</c:v>
                </c:pt>
                <c:pt idx="8">
                  <c:v>72.3</c:v>
                </c:pt>
                <c:pt idx="9">
                  <c:v>72</c:v>
                </c:pt>
                <c:pt idx="10">
                  <c:v>54.9</c:v>
                </c:pt>
                <c:pt idx="11">
                  <c:v>34.9</c:v>
                </c:pt>
                <c:pt idx="12">
                  <c:v>49.8</c:v>
                </c:pt>
                <c:pt idx="13">
                  <c:v>46.6</c:v>
                </c:pt>
                <c:pt idx="14">
                  <c:v>44.9</c:v>
                </c:pt>
                <c:pt idx="15">
                  <c:v>0</c:v>
                </c:pt>
                <c:pt idx="16">
                  <c:v>38.6</c:v>
                </c:pt>
                <c:pt idx="17">
                  <c:v>0</c:v>
                </c:pt>
                <c:pt idx="18">
                  <c:v>35.6</c:v>
                </c:pt>
                <c:pt idx="1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08.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21.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33.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319.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196.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C5A3-42EA-93D4-1A9E958A4378}"/>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C5A3-42EA-93D4-1A9E958A4378}"/>
                </c:ext>
              </c:extLst>
            </c:dLbl>
            <c:dLbl>
              <c:idx val="6"/>
              <c:tx>
                <c:rich>
                  <a:bodyPr/>
                  <a:lstStyle/>
                  <a:p>
                    <a:r>
                      <a:t>139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C5A3-42EA-93D4-1A9E958A4378}"/>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C5A3-42EA-93D4-1A9E958A4378}"/>
                </c:ext>
              </c:extLst>
            </c:dLbl>
            <c:dLbl>
              <c:idx val="8"/>
              <c:tx>
                <c:rich>
                  <a:bodyPr/>
                  <a:lstStyle/>
                  <a:p>
                    <a:r>
                      <a:t>1196.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C5A3-42EA-93D4-1A9E958A4378}"/>
                </c:ext>
              </c:extLst>
            </c:dLbl>
            <c:dLbl>
              <c:idx val="9"/>
              <c:tx>
                <c:rich>
                  <a:bodyPr/>
                  <a:lstStyle/>
                  <a:p>
                    <a:r>
                      <a:t>1196.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C5A3-42EA-93D4-1A9E958A4378}"/>
                </c:ext>
              </c:extLst>
            </c:dLbl>
            <c:dLbl>
              <c:idx val="10"/>
              <c:tx>
                <c:rich>
                  <a:bodyPr/>
                  <a:lstStyle/>
                  <a:p>
                    <a:r>
                      <a:t>86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C5A3-42EA-93D4-1A9E958A4378}"/>
                </c:ext>
              </c:extLst>
            </c:dLbl>
            <c:dLbl>
              <c:idx val="11"/>
              <c:tx>
                <c:rich>
                  <a:bodyPr/>
                  <a:lstStyle/>
                  <a:p>
                    <a:r>
                      <a:t>1075.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C5A3-42EA-93D4-1A9E958A4378}"/>
                </c:ext>
              </c:extLst>
            </c:dLbl>
            <c:dLbl>
              <c:idx val="12"/>
              <c:tx>
                <c:rich>
                  <a:bodyPr/>
                  <a:lstStyle/>
                  <a:p>
                    <a:r>
                      <a:t>1373.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C5A3-42EA-93D4-1A9E958A4378}"/>
                </c:ext>
              </c:extLst>
            </c:dLbl>
            <c:dLbl>
              <c:idx val="13"/>
              <c:tx>
                <c:rich>
                  <a:bodyPr/>
                  <a:lstStyle/>
                  <a:p>
                    <a:r>
                      <a:t>1349.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C5A3-42EA-93D4-1A9E958A4378}"/>
                </c:ext>
              </c:extLst>
            </c:dLbl>
            <c:dLbl>
              <c:idx val="14"/>
              <c:tx>
                <c:rich>
                  <a:bodyPr/>
                  <a:lstStyle/>
                  <a:p>
                    <a:r>
                      <a:t>13667.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C5A3-42EA-93D4-1A9E958A4378}"/>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C5A3-42EA-93D4-1A9E958A4378}"/>
                </c:ext>
              </c:extLst>
            </c:dLbl>
            <c:dLbl>
              <c:idx val="16"/>
              <c:tx>
                <c:rich>
                  <a:bodyPr/>
                  <a:lstStyle/>
                  <a:p>
                    <a:r>
                      <a:t>4308.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C5A3-42EA-93D4-1A9E958A4378}"/>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C5A3-42EA-93D4-1A9E958A4378}"/>
                </c:ext>
              </c:extLst>
            </c:dLbl>
            <c:dLbl>
              <c:idx val="18"/>
              <c:tx>
                <c:rich>
                  <a:bodyPr/>
                  <a:lstStyle/>
                  <a:p>
                    <a:r>
                      <a:t>558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C5A3-42EA-93D4-1A9E958A4378}"/>
                </c:ext>
              </c:extLst>
            </c:dLbl>
            <c:dLbl>
              <c:idx val="1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C5A3-42EA-93D4-1A9E958A437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pt idx="16">
                    <c:v>Total</c:v>
                  </c:pt>
                  <c:pt idx="17">
                    <c:v>Edgewell</c:v>
                  </c:pt>
                  <c:pt idx="18">
                    <c:v>Total</c:v>
                  </c:pt>
                  <c:pt idx="19">
                    <c:v>Edgewell</c:v>
                  </c:pt>
                </c:lvl>
                <c:lvl>
                  <c:pt idx="0">
                    <c:v>Sunscreen Cosmetics Crema</c:v>
                  </c:pt>
                  <c:pt idx="2">
                    <c:v>Sunscreen Cosmetics Liquido</c:v>
                  </c:pt>
                  <c:pt idx="4">
                    <c:v>Sunscreen Derma Crema</c:v>
                  </c:pt>
                  <c:pt idx="6">
                    <c:v>Sunscreen Cosmetics Gel</c:v>
                  </c:pt>
                  <c:pt idx="8">
                    <c:v>Sunscreen Sport Liquido</c:v>
                  </c:pt>
                  <c:pt idx="10">
                    <c:v>Sunscreen Sport Crema</c:v>
                  </c:pt>
                  <c:pt idx="12">
                    <c:v>Sunscreen Cosmetics Locion</c:v>
                  </c:pt>
                  <c:pt idx="14">
                    <c:v>Sunscreen Derma Fluido</c:v>
                  </c:pt>
                  <c:pt idx="16">
                    <c:v>Sunscreen Derma Gel</c:v>
                  </c:pt>
                  <c:pt idx="18">
                    <c:v>Sunscreen Derma Liquido</c:v>
                  </c:pt>
                </c:lvl>
                <c:lvl>
                  <c:pt idx="0">
                    <c:v>Sunscreen</c:v>
                  </c:pt>
                </c:lvl>
              </c:multiLvlStrCache>
            </c:multiLvlStrRef>
          </c:cat>
          <c:val>
            <c:numRef>
              <c:f>Sheet1!$E$2:$E$21</c:f>
              <c:numCache>
                <c:formatCode>General</c:formatCode>
                <c:ptCount val="20"/>
                <c:pt idx="0">
                  <c:v>1308.6448</c:v>
                </c:pt>
                <c:pt idx="1">
                  <c:v>1121.0693000000001</c:v>
                </c:pt>
                <c:pt idx="2">
                  <c:v>1333.1419000000001</c:v>
                </c:pt>
                <c:pt idx="3">
                  <c:v>1319.8511000000001</c:v>
                </c:pt>
                <c:pt idx="4">
                  <c:v>4196.2502999999997</c:v>
                </c:pt>
                <c:pt idx="5">
                  <c:v>0</c:v>
                </c:pt>
                <c:pt idx="6">
                  <c:v>1392.4169999999999</c:v>
                </c:pt>
                <c:pt idx="7">
                  <c:v>0</c:v>
                </c:pt>
                <c:pt idx="8">
                  <c:v>1196.9727</c:v>
                </c:pt>
                <c:pt idx="9">
                  <c:v>1196.6699000000001</c:v>
                </c:pt>
                <c:pt idx="10">
                  <c:v>862.07090000000005</c:v>
                </c:pt>
                <c:pt idx="11">
                  <c:v>1075.0284999999999</c:v>
                </c:pt>
                <c:pt idx="12">
                  <c:v>1373.7351000000001</c:v>
                </c:pt>
                <c:pt idx="13">
                  <c:v>1349.9829</c:v>
                </c:pt>
                <c:pt idx="14">
                  <c:v>13667.1875</c:v>
                </c:pt>
                <c:pt idx="15">
                  <c:v>0</c:v>
                </c:pt>
                <c:pt idx="16">
                  <c:v>4308.2188999999998</c:v>
                </c:pt>
                <c:pt idx="17">
                  <c:v>0</c:v>
                </c:pt>
                <c:pt idx="18">
                  <c:v>5583.1962000000003</c:v>
                </c:pt>
                <c:pt idx="1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F01F-4394-AF85-1FB7E97B9856}"/>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F01F-4394-AF85-1FB7E97B9856}"/>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CBEAE7"/>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pt idx="16">
                    <c:v>Total</c:v>
                  </c:pt>
                  <c:pt idx="17">
                    <c:v>Hawaiian Tropic</c:v>
                  </c:pt>
                  <c:pt idx="18">
                    <c:v>Total</c:v>
                  </c:pt>
                  <c:pt idx="19">
                    <c:v>Hawaiian Tropic</c:v>
                  </c:pt>
                </c:lvl>
                <c:lvl>
                  <c:pt idx="0">
                    <c:v>Sunscreen Derma Crema</c:v>
                  </c:pt>
                  <c:pt idx="2">
                    <c:v>Sunscreen Cosmetics Crema</c:v>
                  </c:pt>
                  <c:pt idx="4">
                    <c:v>Sunscreen Cosmetics Liquido</c:v>
                  </c:pt>
                  <c:pt idx="6">
                    <c:v>Sunscreen Derma Fluido</c:v>
                  </c:pt>
                  <c:pt idx="8">
                    <c:v>Sunscreen Derma Gel</c:v>
                  </c:pt>
                  <c:pt idx="10">
                    <c:v>Sunscreen Cosmetics Gel</c:v>
                  </c:pt>
                  <c:pt idx="12">
                    <c:v>Sunscreen Derma Liquido</c:v>
                  </c:pt>
                  <c:pt idx="14">
                    <c:v>Sunscreen Sport Liquido</c:v>
                  </c:pt>
                  <c:pt idx="16">
                    <c:v>Sunscreen Sport Crema</c:v>
                  </c:pt>
                  <c:pt idx="18">
                    <c:v>Sunscreen Cosmetics Locion</c:v>
                  </c:pt>
                </c:lvl>
                <c:lvl>
                  <c:pt idx="0">
                    <c:v>Sunscreen</c:v>
                  </c:pt>
                </c:lvl>
              </c:multiLvlStrCache>
            </c:multiLvlStrRef>
          </c:cat>
          <c:val>
            <c:numRef>
              <c:f>Sheet1!$D$2:$D$21</c:f>
              <c:numCache>
                <c:formatCode>General</c:formatCode>
                <c:ptCount val="20"/>
                <c:pt idx="0">
                  <c:v>1164.0999999999999</c:v>
                </c:pt>
                <c:pt idx="1">
                  <c:v>0</c:v>
                </c:pt>
                <c:pt idx="2">
                  <c:v>664</c:v>
                </c:pt>
                <c:pt idx="3">
                  <c:v>103.1</c:v>
                </c:pt>
                <c:pt idx="4">
                  <c:v>601.20000000000005</c:v>
                </c:pt>
                <c:pt idx="5">
                  <c:v>168.7</c:v>
                </c:pt>
                <c:pt idx="6">
                  <c:v>376.6</c:v>
                </c:pt>
                <c:pt idx="7">
                  <c:v>0</c:v>
                </c:pt>
                <c:pt idx="8">
                  <c:v>316.7</c:v>
                </c:pt>
                <c:pt idx="9">
                  <c:v>0</c:v>
                </c:pt>
                <c:pt idx="10">
                  <c:v>130.4</c:v>
                </c:pt>
                <c:pt idx="11">
                  <c:v>0</c:v>
                </c:pt>
                <c:pt idx="12">
                  <c:v>116.4</c:v>
                </c:pt>
                <c:pt idx="13">
                  <c:v>0</c:v>
                </c:pt>
                <c:pt idx="14">
                  <c:v>107.9</c:v>
                </c:pt>
                <c:pt idx="15">
                  <c:v>77.3</c:v>
                </c:pt>
                <c:pt idx="16">
                  <c:v>79.2</c:v>
                </c:pt>
                <c:pt idx="17">
                  <c:v>0</c:v>
                </c:pt>
                <c:pt idx="18">
                  <c:v>72.2</c:v>
                </c:pt>
                <c:pt idx="1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6133.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50.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56.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09.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F01F-4394-AF85-1FB7E97B9856}"/>
                </c:ext>
              </c:extLst>
            </c:dLbl>
            <c:dLbl>
              <c:idx val="5"/>
              <c:tx>
                <c:rich>
                  <a:bodyPr/>
                  <a:lstStyle/>
                  <a:p>
                    <a:r>
                      <a:t>1264.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F01F-4394-AF85-1FB7E97B9856}"/>
                </c:ext>
              </c:extLst>
            </c:dLbl>
            <c:dLbl>
              <c:idx val="6"/>
              <c:tx>
                <c:rich>
                  <a:bodyPr/>
                  <a:lstStyle/>
                  <a:p>
                    <a:r>
                      <a:t>13033.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F01F-4394-AF85-1FB7E97B9856}"/>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F01F-4394-AF85-1FB7E97B9856}"/>
                </c:ext>
              </c:extLst>
            </c:dLbl>
            <c:dLbl>
              <c:idx val="8"/>
              <c:tx>
                <c:rich>
                  <a:bodyPr/>
                  <a:lstStyle/>
                  <a:p>
                    <a:r>
                      <a:t>5133.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F01F-4394-AF85-1FB7E97B9856}"/>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F01F-4394-AF85-1FB7E97B9856}"/>
                </c:ext>
              </c:extLst>
            </c:dLbl>
            <c:dLbl>
              <c:idx val="10"/>
              <c:tx>
                <c:rich>
                  <a:bodyPr/>
                  <a:lstStyle/>
                  <a:p>
                    <a:r>
                      <a:t>1493.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F01F-4394-AF85-1FB7E97B9856}"/>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F01F-4394-AF85-1FB7E97B9856}"/>
                </c:ext>
              </c:extLst>
            </c:dLbl>
            <c:dLbl>
              <c:idx val="12"/>
              <c:tx>
                <c:rich>
                  <a:bodyPr/>
                  <a:lstStyle/>
                  <a:p>
                    <a:r>
                      <a:t>497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F01F-4394-AF85-1FB7E97B9856}"/>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F01F-4394-AF85-1FB7E97B9856}"/>
                </c:ext>
              </c:extLst>
            </c:dLbl>
            <c:dLbl>
              <c:idx val="14"/>
              <c:tx>
                <c:rich>
                  <a:bodyPr/>
                  <a:lstStyle/>
                  <a:p>
                    <a:r>
                      <a:t>1222.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F01F-4394-AF85-1FB7E97B9856}"/>
                </c:ext>
              </c:extLst>
            </c:dLbl>
            <c:dLbl>
              <c:idx val="15"/>
              <c:tx>
                <c:rich>
                  <a:bodyPr/>
                  <a:lstStyle/>
                  <a:p>
                    <a:r>
                      <a:t>1190.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F01F-4394-AF85-1FB7E97B9856}"/>
                </c:ext>
              </c:extLst>
            </c:dLbl>
            <c:dLbl>
              <c:idx val="16"/>
              <c:tx>
                <c:rich>
                  <a:bodyPr/>
                  <a:lstStyle/>
                  <a:p>
                    <a:r>
                      <a:t>905.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F01F-4394-AF85-1FB7E97B9856}"/>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F01F-4394-AF85-1FB7E97B9856}"/>
                </c:ext>
              </c:extLst>
            </c:dLbl>
            <c:dLbl>
              <c:idx val="18"/>
              <c:tx>
                <c:rich>
                  <a:bodyPr/>
                  <a:lstStyle/>
                  <a:p>
                    <a:r>
                      <a:t>146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F01F-4394-AF85-1FB7E97B9856}"/>
                </c:ext>
              </c:extLst>
            </c:dLbl>
            <c:dLbl>
              <c:idx val="1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F01F-4394-AF85-1FB7E97B985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pt idx="16">
                    <c:v>Total</c:v>
                  </c:pt>
                  <c:pt idx="17">
                    <c:v>Hawaiian Tropic</c:v>
                  </c:pt>
                  <c:pt idx="18">
                    <c:v>Total</c:v>
                  </c:pt>
                  <c:pt idx="19">
                    <c:v>Hawaiian Tropic</c:v>
                  </c:pt>
                </c:lvl>
                <c:lvl>
                  <c:pt idx="0">
                    <c:v>Sunscreen Derma Crema</c:v>
                  </c:pt>
                  <c:pt idx="2">
                    <c:v>Sunscreen Cosmetics Crema</c:v>
                  </c:pt>
                  <c:pt idx="4">
                    <c:v>Sunscreen Cosmetics Liquido</c:v>
                  </c:pt>
                  <c:pt idx="6">
                    <c:v>Sunscreen Derma Fluido</c:v>
                  </c:pt>
                  <c:pt idx="8">
                    <c:v>Sunscreen Derma Gel</c:v>
                  </c:pt>
                  <c:pt idx="10">
                    <c:v>Sunscreen Cosmetics Gel</c:v>
                  </c:pt>
                  <c:pt idx="12">
                    <c:v>Sunscreen Derma Liquido</c:v>
                  </c:pt>
                  <c:pt idx="14">
                    <c:v>Sunscreen Sport Liquido</c:v>
                  </c:pt>
                  <c:pt idx="16">
                    <c:v>Sunscreen Sport Crema</c:v>
                  </c:pt>
                  <c:pt idx="18">
                    <c:v>Sunscreen Cosmetics Locion</c:v>
                  </c:pt>
                </c:lvl>
                <c:lvl>
                  <c:pt idx="0">
                    <c:v>Sunscreen</c:v>
                  </c:pt>
                </c:lvl>
              </c:multiLvlStrCache>
            </c:multiLvlStrRef>
          </c:cat>
          <c:val>
            <c:numRef>
              <c:f>Sheet1!$E$2:$E$21</c:f>
              <c:numCache>
                <c:formatCode>General</c:formatCode>
                <c:ptCount val="20"/>
                <c:pt idx="0">
                  <c:v>6133.5186999999996</c:v>
                </c:pt>
                <c:pt idx="1">
                  <c:v>0</c:v>
                </c:pt>
                <c:pt idx="2">
                  <c:v>1350.7456</c:v>
                </c:pt>
                <c:pt idx="3">
                  <c:v>1156.164</c:v>
                </c:pt>
                <c:pt idx="4">
                  <c:v>1409.1302000000001</c:v>
                </c:pt>
                <c:pt idx="5">
                  <c:v>1264.6270999999999</c:v>
                </c:pt>
                <c:pt idx="6">
                  <c:v>13033.6865</c:v>
                </c:pt>
                <c:pt idx="7">
                  <c:v>0</c:v>
                </c:pt>
                <c:pt idx="8">
                  <c:v>5133.1099000000004</c:v>
                </c:pt>
                <c:pt idx="9">
                  <c:v>0</c:v>
                </c:pt>
                <c:pt idx="10">
                  <c:v>1493.2309</c:v>
                </c:pt>
                <c:pt idx="11">
                  <c:v>0</c:v>
                </c:pt>
                <c:pt idx="12">
                  <c:v>4974.4035000000003</c:v>
                </c:pt>
                <c:pt idx="13">
                  <c:v>0</c:v>
                </c:pt>
                <c:pt idx="14">
                  <c:v>1222.8746000000001</c:v>
                </c:pt>
                <c:pt idx="15">
                  <c:v>1190.9462000000001</c:v>
                </c:pt>
                <c:pt idx="16">
                  <c:v>905.72450000000003</c:v>
                </c:pt>
                <c:pt idx="17">
                  <c:v>0</c:v>
                </c:pt>
                <c:pt idx="18">
                  <c:v>1466.9327000000001</c:v>
                </c:pt>
                <c:pt idx="1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2FB3-431C-9C75-1B4CDC9A7317}"/>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2FB3-431C-9C75-1B4CDC9A7317}"/>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CBEAE7"/>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pt idx="16">
                    <c:v>Total</c:v>
                  </c:pt>
                  <c:pt idx="17">
                    <c:v>Hawaiian Tropic</c:v>
                  </c:pt>
                  <c:pt idx="18">
                    <c:v>Total</c:v>
                  </c:pt>
                  <c:pt idx="19">
                    <c:v>Hawaiian Tropic</c:v>
                  </c:pt>
                </c:lvl>
                <c:lvl>
                  <c:pt idx="0">
                    <c:v>Sunscreen Derma Crema</c:v>
                  </c:pt>
                  <c:pt idx="2">
                    <c:v>Sunscreen Cosmetics Crema</c:v>
                  </c:pt>
                  <c:pt idx="4">
                    <c:v>Sunscreen Cosmetics Liquido</c:v>
                  </c:pt>
                  <c:pt idx="6">
                    <c:v>Sunscreen Derma Fluido</c:v>
                  </c:pt>
                  <c:pt idx="8">
                    <c:v>Sunscreen Derma Gel</c:v>
                  </c:pt>
                  <c:pt idx="10">
                    <c:v>Sunscreen Cosmetics Gel</c:v>
                  </c:pt>
                  <c:pt idx="12">
                    <c:v>Sunscreen Derma Liquido</c:v>
                  </c:pt>
                  <c:pt idx="14">
                    <c:v>Sunscreen Sport Liquido</c:v>
                  </c:pt>
                  <c:pt idx="16">
                    <c:v>Sunscreen Sport Crema</c:v>
                  </c:pt>
                  <c:pt idx="18">
                    <c:v>Sunscreen Cosmetics Locion</c:v>
                  </c:pt>
                </c:lvl>
                <c:lvl>
                  <c:pt idx="0">
                    <c:v>Sunscreen</c:v>
                  </c:pt>
                </c:lvl>
              </c:multiLvlStrCache>
            </c:multiLvlStrRef>
          </c:cat>
          <c:val>
            <c:numRef>
              <c:f>Sheet1!$D$2:$D$21</c:f>
              <c:numCache>
                <c:formatCode>General</c:formatCode>
                <c:ptCount val="20"/>
                <c:pt idx="0">
                  <c:v>1029.7</c:v>
                </c:pt>
                <c:pt idx="1">
                  <c:v>0</c:v>
                </c:pt>
                <c:pt idx="2">
                  <c:v>590.6</c:v>
                </c:pt>
                <c:pt idx="3">
                  <c:v>100.2</c:v>
                </c:pt>
                <c:pt idx="4">
                  <c:v>555.1</c:v>
                </c:pt>
                <c:pt idx="5">
                  <c:v>163.30000000000001</c:v>
                </c:pt>
                <c:pt idx="6">
                  <c:v>333.5</c:v>
                </c:pt>
                <c:pt idx="7">
                  <c:v>0</c:v>
                </c:pt>
                <c:pt idx="8">
                  <c:v>291.60000000000002</c:v>
                </c:pt>
                <c:pt idx="9">
                  <c:v>0</c:v>
                </c:pt>
                <c:pt idx="10">
                  <c:v>122.1</c:v>
                </c:pt>
                <c:pt idx="11">
                  <c:v>0</c:v>
                </c:pt>
                <c:pt idx="12">
                  <c:v>111</c:v>
                </c:pt>
                <c:pt idx="13">
                  <c:v>0</c:v>
                </c:pt>
                <c:pt idx="14">
                  <c:v>104.8</c:v>
                </c:pt>
                <c:pt idx="15">
                  <c:v>74.7</c:v>
                </c:pt>
                <c:pt idx="16">
                  <c:v>74.599999999999994</c:v>
                </c:pt>
                <c:pt idx="17">
                  <c:v>0</c:v>
                </c:pt>
                <c:pt idx="18">
                  <c:v>68.3</c:v>
                </c:pt>
                <c:pt idx="1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6653.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5.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68.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2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2FB3-431C-9C75-1B4CDC9A7317}"/>
                </c:ext>
              </c:extLst>
            </c:dLbl>
            <c:dLbl>
              <c:idx val="5"/>
              <c:tx>
                <c:rich>
                  <a:bodyPr/>
                  <a:lstStyle/>
                  <a:p>
                    <a:r>
                      <a:t>1277.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2FB3-431C-9C75-1B4CDC9A7317}"/>
                </c:ext>
              </c:extLst>
            </c:dLbl>
            <c:dLbl>
              <c:idx val="6"/>
              <c:tx>
                <c:rich>
                  <a:bodyPr/>
                  <a:lstStyle/>
                  <a:p>
                    <a:r>
                      <a:t>13590.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2FB3-431C-9C75-1B4CDC9A7317}"/>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2FB3-431C-9C75-1B4CDC9A7317}"/>
                </c:ext>
              </c:extLst>
            </c:dLbl>
            <c:dLbl>
              <c:idx val="8"/>
              <c:tx>
                <c:rich>
                  <a:bodyPr/>
                  <a:lstStyle/>
                  <a:p>
                    <a:r>
                      <a:t>5153.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2FB3-431C-9C75-1B4CDC9A7317}"/>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2FB3-431C-9C75-1B4CDC9A7317}"/>
                </c:ext>
              </c:extLst>
            </c:dLbl>
            <c:dLbl>
              <c:idx val="10"/>
              <c:tx>
                <c:rich>
                  <a:bodyPr/>
                  <a:lstStyle/>
                  <a:p>
                    <a:r>
                      <a:t>1485.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2FB3-431C-9C75-1B4CDC9A7317}"/>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2FB3-431C-9C75-1B4CDC9A7317}"/>
                </c:ext>
              </c:extLst>
            </c:dLbl>
            <c:dLbl>
              <c:idx val="12"/>
              <c:tx>
                <c:rich>
                  <a:bodyPr/>
                  <a:lstStyle/>
                  <a:p>
                    <a:r>
                      <a:t>5157.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2FB3-431C-9C75-1B4CDC9A7317}"/>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2FB3-431C-9C75-1B4CDC9A7317}"/>
                </c:ext>
              </c:extLst>
            </c:dLbl>
            <c:dLbl>
              <c:idx val="14"/>
              <c:tx>
                <c:rich>
                  <a:bodyPr/>
                  <a:lstStyle/>
                  <a:p>
                    <a:r>
                      <a:t>123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2FB3-431C-9C75-1B4CDC9A7317}"/>
                </c:ext>
              </c:extLst>
            </c:dLbl>
            <c:dLbl>
              <c:idx val="15"/>
              <c:tx>
                <c:rich>
                  <a:bodyPr/>
                  <a:lstStyle/>
                  <a:p>
                    <a:r>
                      <a:t>1204.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2FB3-431C-9C75-1B4CDC9A7317}"/>
                </c:ext>
              </c:extLst>
            </c:dLbl>
            <c:dLbl>
              <c:idx val="16"/>
              <c:tx>
                <c:rich>
                  <a:bodyPr/>
                  <a:lstStyle/>
                  <a:p>
                    <a:r>
                      <a:t>920.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2FB3-431C-9C75-1B4CDC9A7317}"/>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2FB3-431C-9C75-1B4CDC9A7317}"/>
                </c:ext>
              </c:extLst>
            </c:dLbl>
            <c:dLbl>
              <c:idx val="18"/>
              <c:tx>
                <c:rich>
                  <a:bodyPr/>
                  <a:lstStyle/>
                  <a:p>
                    <a:r>
                      <a:t>1497.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2FB3-431C-9C75-1B4CDC9A7317}"/>
                </c:ext>
              </c:extLst>
            </c:dLbl>
            <c:dLbl>
              <c:idx val="1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2FB3-431C-9C75-1B4CDC9A731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pt idx="16">
                    <c:v>Total</c:v>
                  </c:pt>
                  <c:pt idx="17">
                    <c:v>Hawaiian Tropic</c:v>
                  </c:pt>
                  <c:pt idx="18">
                    <c:v>Total</c:v>
                  </c:pt>
                  <c:pt idx="19">
                    <c:v>Hawaiian Tropic</c:v>
                  </c:pt>
                </c:lvl>
                <c:lvl>
                  <c:pt idx="0">
                    <c:v>Sunscreen Derma Crema</c:v>
                  </c:pt>
                  <c:pt idx="2">
                    <c:v>Sunscreen Cosmetics Crema</c:v>
                  </c:pt>
                  <c:pt idx="4">
                    <c:v>Sunscreen Cosmetics Liquido</c:v>
                  </c:pt>
                  <c:pt idx="6">
                    <c:v>Sunscreen Derma Fluido</c:v>
                  </c:pt>
                  <c:pt idx="8">
                    <c:v>Sunscreen Derma Gel</c:v>
                  </c:pt>
                  <c:pt idx="10">
                    <c:v>Sunscreen Cosmetics Gel</c:v>
                  </c:pt>
                  <c:pt idx="12">
                    <c:v>Sunscreen Derma Liquido</c:v>
                  </c:pt>
                  <c:pt idx="14">
                    <c:v>Sunscreen Sport Liquido</c:v>
                  </c:pt>
                  <c:pt idx="16">
                    <c:v>Sunscreen Sport Crema</c:v>
                  </c:pt>
                  <c:pt idx="18">
                    <c:v>Sunscreen Cosmetics Locion</c:v>
                  </c:pt>
                </c:lvl>
                <c:lvl>
                  <c:pt idx="0">
                    <c:v>Sunscreen</c:v>
                  </c:pt>
                </c:lvl>
              </c:multiLvlStrCache>
            </c:multiLvlStrRef>
          </c:cat>
          <c:val>
            <c:numRef>
              <c:f>Sheet1!$E$2:$E$21</c:f>
              <c:numCache>
                <c:formatCode>General</c:formatCode>
                <c:ptCount val="20"/>
                <c:pt idx="0">
                  <c:v>6653.6706999999997</c:v>
                </c:pt>
                <c:pt idx="1">
                  <c:v>0</c:v>
                </c:pt>
                <c:pt idx="2">
                  <c:v>1385.6142</c:v>
                </c:pt>
                <c:pt idx="3">
                  <c:v>1168.9454000000001</c:v>
                </c:pt>
                <c:pt idx="4">
                  <c:v>1422.7560000000001</c:v>
                </c:pt>
                <c:pt idx="5">
                  <c:v>1277.6076</c:v>
                </c:pt>
                <c:pt idx="6">
                  <c:v>13590.282999999999</c:v>
                </c:pt>
                <c:pt idx="7">
                  <c:v>0</c:v>
                </c:pt>
                <c:pt idx="8">
                  <c:v>5153.4772999999996</c:v>
                </c:pt>
                <c:pt idx="9">
                  <c:v>0</c:v>
                </c:pt>
                <c:pt idx="10">
                  <c:v>1485.1694</c:v>
                </c:pt>
                <c:pt idx="11">
                  <c:v>0</c:v>
                </c:pt>
                <c:pt idx="12">
                  <c:v>5157.1587</c:v>
                </c:pt>
                <c:pt idx="13">
                  <c:v>0</c:v>
                </c:pt>
                <c:pt idx="14">
                  <c:v>1235.0662</c:v>
                </c:pt>
                <c:pt idx="15">
                  <c:v>1204.7452000000001</c:v>
                </c:pt>
                <c:pt idx="16">
                  <c:v>920.01750000000004</c:v>
                </c:pt>
                <c:pt idx="17">
                  <c:v>0</c:v>
                </c:pt>
                <c:pt idx="18">
                  <c:v>1497.0805</c:v>
                </c:pt>
                <c:pt idx="1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FA0C-490A-8750-6B8F0FADD8AE}"/>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FA0C-490A-8750-6B8F0FADD8AE}"/>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pt idx="16">
                    <c:v>Total</c:v>
                  </c:pt>
                  <c:pt idx="17">
                    <c:v>Hawaiian Tropic</c:v>
                  </c:pt>
                </c:lvl>
                <c:lvl>
                  <c:pt idx="0">
                    <c:v>Sunscreen Derma Crema</c:v>
                  </c:pt>
                  <c:pt idx="2">
                    <c:v>Sunscreen Derma Fluido</c:v>
                  </c:pt>
                  <c:pt idx="4">
                    <c:v>Sunscreen Derma Gel</c:v>
                  </c:pt>
                  <c:pt idx="6">
                    <c:v>Sunscreen Cosmetics Liquido</c:v>
                  </c:pt>
                  <c:pt idx="8">
                    <c:v>Sunscreen Cosmetics Crema</c:v>
                  </c:pt>
                  <c:pt idx="10">
                    <c:v>Sunscreen Derma Liquido</c:v>
                  </c:pt>
                  <c:pt idx="12">
                    <c:v>Sunscreen Derma Aceite</c:v>
                  </c:pt>
                  <c:pt idx="14">
                    <c:v>Sunscreen Derma Gel-Crema</c:v>
                  </c:pt>
                  <c:pt idx="16">
                    <c:v>Sunscreen Sport Liquido</c:v>
                  </c:pt>
                </c:lvl>
                <c:lvl>
                  <c:pt idx="0">
                    <c:v>Sunscreen</c:v>
                  </c:pt>
                </c:lvl>
              </c:multiLvlStrCache>
            </c:multiLvlStrRef>
          </c:cat>
          <c:val>
            <c:numRef>
              <c:f>Sheet1!$D$2:$D$19</c:f>
              <c:numCache>
                <c:formatCode>General</c:formatCode>
                <c:ptCount val="18"/>
                <c:pt idx="0">
                  <c:v>767.9</c:v>
                </c:pt>
                <c:pt idx="1">
                  <c:v>0</c:v>
                </c:pt>
                <c:pt idx="2">
                  <c:v>288.60000000000002</c:v>
                </c:pt>
                <c:pt idx="3">
                  <c:v>0</c:v>
                </c:pt>
                <c:pt idx="4">
                  <c:v>253</c:v>
                </c:pt>
                <c:pt idx="5">
                  <c:v>0</c:v>
                </c:pt>
                <c:pt idx="6">
                  <c:v>168.8</c:v>
                </c:pt>
                <c:pt idx="7">
                  <c:v>40.1</c:v>
                </c:pt>
                <c:pt idx="8">
                  <c:v>148.9</c:v>
                </c:pt>
                <c:pt idx="9">
                  <c:v>27.4</c:v>
                </c:pt>
                <c:pt idx="10">
                  <c:v>75.400000000000006</c:v>
                </c:pt>
                <c:pt idx="11">
                  <c:v>0</c:v>
                </c:pt>
                <c:pt idx="12">
                  <c:v>51.4</c:v>
                </c:pt>
                <c:pt idx="13">
                  <c:v>0</c:v>
                </c:pt>
                <c:pt idx="14">
                  <c:v>38.9</c:v>
                </c:pt>
                <c:pt idx="15">
                  <c:v>0</c:v>
                </c:pt>
                <c:pt idx="16">
                  <c:v>32.299999999999997</c:v>
                </c:pt>
                <c:pt idx="17">
                  <c:v>23.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8438.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71.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533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FA0C-490A-8750-6B8F0FADD8AE}"/>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FA0C-490A-8750-6B8F0FADD8AE}"/>
                </c:ext>
              </c:extLst>
            </c:dLbl>
            <c:dLbl>
              <c:idx val="6"/>
              <c:tx>
                <c:rich>
                  <a:bodyPr/>
                  <a:lstStyle/>
                  <a:p>
                    <a:r>
                      <a:t>1690.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FA0C-490A-8750-6B8F0FADD8AE}"/>
                </c:ext>
              </c:extLst>
            </c:dLbl>
            <c:dLbl>
              <c:idx val="7"/>
              <c:tx>
                <c:rich>
                  <a:bodyPr/>
                  <a:lstStyle/>
                  <a:p>
                    <a:r>
                      <a:t>1337.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FA0C-490A-8750-6B8F0FADD8AE}"/>
                </c:ext>
              </c:extLst>
            </c:dLbl>
            <c:dLbl>
              <c:idx val="8"/>
              <c:tx>
                <c:rich>
                  <a:bodyPr/>
                  <a:lstStyle/>
                  <a:p>
                    <a:r>
                      <a:t>1689.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FA0C-490A-8750-6B8F0FADD8AE}"/>
                </c:ext>
              </c:extLst>
            </c:dLbl>
            <c:dLbl>
              <c:idx val="9"/>
              <c:tx>
                <c:rich>
                  <a:bodyPr/>
                  <a:lstStyle/>
                  <a:p>
                    <a:r>
                      <a:t>1198.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FA0C-490A-8750-6B8F0FADD8AE}"/>
                </c:ext>
              </c:extLst>
            </c:dLbl>
            <c:dLbl>
              <c:idx val="10"/>
              <c:tx>
                <c:rich>
                  <a:bodyPr/>
                  <a:lstStyle/>
                  <a:p>
                    <a:r>
                      <a:t>5083.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FA0C-490A-8750-6B8F0FADD8AE}"/>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FA0C-490A-8750-6B8F0FADD8AE}"/>
                </c:ext>
              </c:extLst>
            </c:dLbl>
            <c:dLbl>
              <c:idx val="12"/>
              <c:tx>
                <c:rich>
                  <a:bodyPr/>
                  <a:lstStyle/>
                  <a:p>
                    <a:r>
                      <a:t>4481.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FA0C-490A-8750-6B8F0FADD8AE}"/>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FA0C-490A-8750-6B8F0FADD8AE}"/>
                </c:ext>
              </c:extLst>
            </c:dLbl>
            <c:dLbl>
              <c:idx val="14"/>
              <c:tx>
                <c:rich>
                  <a:bodyPr/>
                  <a:lstStyle/>
                  <a:p>
                    <a:r>
                      <a:t>10908.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FA0C-490A-8750-6B8F0FADD8AE}"/>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FA0C-490A-8750-6B8F0FADD8AE}"/>
                </c:ext>
              </c:extLst>
            </c:dLbl>
            <c:dLbl>
              <c:idx val="16"/>
              <c:tx>
                <c:rich>
                  <a:bodyPr/>
                  <a:lstStyle/>
                  <a:p>
                    <a:r>
                      <a:t>1336.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FA0C-490A-8750-6B8F0FADD8AE}"/>
                </c:ext>
              </c:extLst>
            </c:dLbl>
            <c:dLbl>
              <c:idx val="17"/>
              <c:tx>
                <c:rich>
                  <a:bodyPr/>
                  <a:lstStyle/>
                  <a:p>
                    <a:r>
                      <a:t>1295.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FA0C-490A-8750-6B8F0FADD8A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pt idx="16">
                    <c:v>Total</c:v>
                  </c:pt>
                  <c:pt idx="17">
                    <c:v>Hawaiian Tropic</c:v>
                  </c:pt>
                </c:lvl>
                <c:lvl>
                  <c:pt idx="0">
                    <c:v>Sunscreen Derma Crema</c:v>
                  </c:pt>
                  <c:pt idx="2">
                    <c:v>Sunscreen Derma Fluido</c:v>
                  </c:pt>
                  <c:pt idx="4">
                    <c:v>Sunscreen Derma Gel</c:v>
                  </c:pt>
                  <c:pt idx="6">
                    <c:v>Sunscreen Cosmetics Liquido</c:v>
                  </c:pt>
                  <c:pt idx="8">
                    <c:v>Sunscreen Cosmetics Crema</c:v>
                  </c:pt>
                  <c:pt idx="10">
                    <c:v>Sunscreen Derma Liquido</c:v>
                  </c:pt>
                  <c:pt idx="12">
                    <c:v>Sunscreen Derma Aceite</c:v>
                  </c:pt>
                  <c:pt idx="14">
                    <c:v>Sunscreen Derma Gel-Crema</c:v>
                  </c:pt>
                  <c:pt idx="16">
                    <c:v>Sunscreen Sport Liquido</c:v>
                  </c:pt>
                </c:lvl>
                <c:lvl>
                  <c:pt idx="0">
                    <c:v>Sunscreen</c:v>
                  </c:pt>
                </c:lvl>
              </c:multiLvlStrCache>
            </c:multiLvlStrRef>
          </c:cat>
          <c:val>
            <c:numRef>
              <c:f>Sheet1!$E$2:$E$19</c:f>
              <c:numCache>
                <c:formatCode>General</c:formatCode>
                <c:ptCount val="18"/>
                <c:pt idx="0">
                  <c:v>8438.1460999999999</c:v>
                </c:pt>
                <c:pt idx="1">
                  <c:v>0</c:v>
                </c:pt>
                <c:pt idx="2">
                  <c:v>13871.3526</c:v>
                </c:pt>
                <c:pt idx="3">
                  <c:v>0</c:v>
                </c:pt>
                <c:pt idx="4">
                  <c:v>5330.2659999999996</c:v>
                </c:pt>
                <c:pt idx="5">
                  <c:v>0</c:v>
                </c:pt>
                <c:pt idx="6">
                  <c:v>1690.0078000000001</c:v>
                </c:pt>
                <c:pt idx="7">
                  <c:v>1337.3267000000001</c:v>
                </c:pt>
                <c:pt idx="8">
                  <c:v>1689.6541999999999</c:v>
                </c:pt>
                <c:pt idx="9">
                  <c:v>1198.2664</c:v>
                </c:pt>
                <c:pt idx="10">
                  <c:v>5083.5600999999997</c:v>
                </c:pt>
                <c:pt idx="11">
                  <c:v>0</c:v>
                </c:pt>
                <c:pt idx="12">
                  <c:v>4481.5495000000001</c:v>
                </c:pt>
                <c:pt idx="13">
                  <c:v>0</c:v>
                </c:pt>
                <c:pt idx="14">
                  <c:v>10908.8266</c:v>
                </c:pt>
                <c:pt idx="15">
                  <c:v>0</c:v>
                </c:pt>
                <c:pt idx="16">
                  <c:v>1336.8777</c:v>
                </c:pt>
                <c:pt idx="17">
                  <c:v>1295.5105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53E1-401E-ABFD-ED04688F6507}"/>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53E1-401E-ABFD-ED04688F6507}"/>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CBEAE7"/>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pt idx="16">
                    <c:v>Total</c:v>
                  </c:pt>
                  <c:pt idx="17">
                    <c:v>Hawaiian Tropic</c:v>
                  </c:pt>
                  <c:pt idx="18">
                    <c:v>Total</c:v>
                  </c:pt>
                  <c:pt idx="19">
                    <c:v>Hawaiian Tropic</c:v>
                  </c:pt>
                </c:lvl>
                <c:lvl>
                  <c:pt idx="0">
                    <c:v>Sunscreen Cosmetics Crema</c:v>
                  </c:pt>
                  <c:pt idx="2">
                    <c:v>Sunscreen Derma Crema</c:v>
                  </c:pt>
                  <c:pt idx="4">
                    <c:v>Sunscreen Cosmetics Liquido</c:v>
                  </c:pt>
                  <c:pt idx="6">
                    <c:v>Sunscreen Cosmetics Gel</c:v>
                  </c:pt>
                  <c:pt idx="8">
                    <c:v>Sunscreen Sport Crema</c:v>
                  </c:pt>
                  <c:pt idx="10">
                    <c:v>Sunscreen Derma Gel</c:v>
                  </c:pt>
                  <c:pt idx="12">
                    <c:v>Sunscreen Sport Liquido</c:v>
                  </c:pt>
                  <c:pt idx="14">
                    <c:v>Sunscreen Cosmetics Locion</c:v>
                  </c:pt>
                  <c:pt idx="16">
                    <c:v>Sunscreen Cosmetics Spray</c:v>
                  </c:pt>
                  <c:pt idx="18">
                    <c:v>Sunscreen Derma Fluido</c:v>
                  </c:pt>
                </c:lvl>
                <c:lvl>
                  <c:pt idx="0">
                    <c:v>Sunscreen</c:v>
                  </c:pt>
                </c:lvl>
              </c:multiLvlStrCache>
            </c:multiLvlStrRef>
          </c:cat>
          <c:val>
            <c:numRef>
              <c:f>Sheet1!$D$2:$D$21</c:f>
              <c:numCache>
                <c:formatCode>General</c:formatCode>
                <c:ptCount val="20"/>
                <c:pt idx="0">
                  <c:v>10</c:v>
                </c:pt>
                <c:pt idx="1">
                  <c:v>0.4</c:v>
                </c:pt>
                <c:pt idx="2">
                  <c:v>5.5</c:v>
                </c:pt>
                <c:pt idx="3">
                  <c:v>0</c:v>
                </c:pt>
                <c:pt idx="4">
                  <c:v>4.9000000000000004</c:v>
                </c:pt>
                <c:pt idx="5">
                  <c:v>0.3</c:v>
                </c:pt>
                <c:pt idx="6">
                  <c:v>1.2</c:v>
                </c:pt>
                <c:pt idx="7">
                  <c:v>0</c:v>
                </c:pt>
                <c:pt idx="8">
                  <c:v>0.9</c:v>
                </c:pt>
                <c:pt idx="9">
                  <c:v>0</c:v>
                </c:pt>
                <c:pt idx="10">
                  <c:v>0.7</c:v>
                </c:pt>
                <c:pt idx="11">
                  <c:v>0</c:v>
                </c:pt>
                <c:pt idx="12">
                  <c:v>0.4</c:v>
                </c:pt>
                <c:pt idx="13">
                  <c:v>0.3</c:v>
                </c:pt>
                <c:pt idx="14">
                  <c:v>0.3</c:v>
                </c:pt>
                <c:pt idx="15">
                  <c:v>0</c:v>
                </c:pt>
                <c:pt idx="16">
                  <c:v>0.3</c:v>
                </c:pt>
                <c:pt idx="17">
                  <c:v>0</c:v>
                </c:pt>
                <c:pt idx="18">
                  <c:v>0.3</c:v>
                </c:pt>
                <c:pt idx="1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24.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984.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094.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379.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53E1-401E-ABFD-ED04688F6507}"/>
                </c:ext>
              </c:extLst>
            </c:dLbl>
            <c:dLbl>
              <c:idx val="5"/>
              <c:tx>
                <c:rich>
                  <a:bodyPr/>
                  <a:lstStyle/>
                  <a:p>
                    <a:r>
                      <a:t>1259.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53E1-401E-ABFD-ED04688F6507}"/>
                </c:ext>
              </c:extLst>
            </c:dLbl>
            <c:dLbl>
              <c:idx val="6"/>
              <c:tx>
                <c:rich>
                  <a:bodyPr/>
                  <a:lstStyle/>
                  <a:p>
                    <a:r>
                      <a:t>1828.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53E1-401E-ABFD-ED04688F6507}"/>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53E1-401E-ABFD-ED04688F6507}"/>
                </c:ext>
              </c:extLst>
            </c:dLbl>
            <c:dLbl>
              <c:idx val="8"/>
              <c:tx>
                <c:rich>
                  <a:bodyPr/>
                  <a:lstStyle/>
                  <a:p>
                    <a:r>
                      <a:t>68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53E1-401E-ABFD-ED04688F6507}"/>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53E1-401E-ABFD-ED04688F6507}"/>
                </c:ext>
              </c:extLst>
            </c:dLbl>
            <c:dLbl>
              <c:idx val="10"/>
              <c:tx>
                <c:rich>
                  <a:bodyPr/>
                  <a:lstStyle/>
                  <a:p>
                    <a:r>
                      <a:t>1874.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53E1-401E-ABFD-ED04688F6507}"/>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53E1-401E-ABFD-ED04688F6507}"/>
                </c:ext>
              </c:extLst>
            </c:dLbl>
            <c:dLbl>
              <c:idx val="12"/>
              <c:tx>
                <c:rich>
                  <a:bodyPr/>
                  <a:lstStyle/>
                  <a:p>
                    <a:r>
                      <a:t>1045.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53E1-401E-ABFD-ED04688F6507}"/>
                </c:ext>
              </c:extLst>
            </c:dLbl>
            <c:dLbl>
              <c:idx val="13"/>
              <c:tx>
                <c:rich>
                  <a:bodyPr/>
                  <a:lstStyle/>
                  <a:p>
                    <a:r>
                      <a:t>1038.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53E1-401E-ABFD-ED04688F6507}"/>
                </c:ext>
              </c:extLst>
            </c:dLbl>
            <c:dLbl>
              <c:idx val="14"/>
              <c:tx>
                <c:rich>
                  <a:bodyPr/>
                  <a:lstStyle/>
                  <a:p>
                    <a:r>
                      <a:t>2064.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53E1-401E-ABFD-ED04688F6507}"/>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53E1-401E-ABFD-ED04688F6507}"/>
                </c:ext>
              </c:extLst>
            </c:dLbl>
            <c:dLbl>
              <c:idx val="16"/>
              <c:tx>
                <c:rich>
                  <a:bodyPr/>
                  <a:lstStyle/>
                  <a:p>
                    <a:r>
                      <a:t>768.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53E1-401E-ABFD-ED04688F6507}"/>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53E1-401E-ABFD-ED04688F6507}"/>
                </c:ext>
              </c:extLst>
            </c:dLbl>
            <c:dLbl>
              <c:idx val="18"/>
              <c:tx>
                <c:rich>
                  <a:bodyPr/>
                  <a:lstStyle/>
                  <a:p>
                    <a:r>
                      <a:t>13214.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53E1-401E-ABFD-ED04688F6507}"/>
                </c:ext>
              </c:extLst>
            </c:dLbl>
            <c:dLbl>
              <c:idx val="1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53E1-401E-ABFD-ED04688F650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pt idx="16">
                    <c:v>Total</c:v>
                  </c:pt>
                  <c:pt idx="17">
                    <c:v>Hawaiian Tropic</c:v>
                  </c:pt>
                  <c:pt idx="18">
                    <c:v>Total</c:v>
                  </c:pt>
                  <c:pt idx="19">
                    <c:v>Hawaiian Tropic</c:v>
                  </c:pt>
                </c:lvl>
                <c:lvl>
                  <c:pt idx="0">
                    <c:v>Sunscreen Cosmetics Crema</c:v>
                  </c:pt>
                  <c:pt idx="2">
                    <c:v>Sunscreen Derma Crema</c:v>
                  </c:pt>
                  <c:pt idx="4">
                    <c:v>Sunscreen Cosmetics Liquido</c:v>
                  </c:pt>
                  <c:pt idx="6">
                    <c:v>Sunscreen Cosmetics Gel</c:v>
                  </c:pt>
                  <c:pt idx="8">
                    <c:v>Sunscreen Sport Crema</c:v>
                  </c:pt>
                  <c:pt idx="10">
                    <c:v>Sunscreen Derma Gel</c:v>
                  </c:pt>
                  <c:pt idx="12">
                    <c:v>Sunscreen Sport Liquido</c:v>
                  </c:pt>
                  <c:pt idx="14">
                    <c:v>Sunscreen Cosmetics Locion</c:v>
                  </c:pt>
                  <c:pt idx="16">
                    <c:v>Sunscreen Cosmetics Spray</c:v>
                  </c:pt>
                  <c:pt idx="18">
                    <c:v>Sunscreen Derma Fluido</c:v>
                  </c:pt>
                </c:lvl>
                <c:lvl>
                  <c:pt idx="0">
                    <c:v>Sunscreen</c:v>
                  </c:pt>
                </c:lvl>
              </c:multiLvlStrCache>
            </c:multiLvlStrRef>
          </c:cat>
          <c:val>
            <c:numRef>
              <c:f>Sheet1!$E$2:$E$21</c:f>
              <c:numCache>
                <c:formatCode>General</c:formatCode>
                <c:ptCount val="20"/>
                <c:pt idx="0">
                  <c:v>1124.7882999999999</c:v>
                </c:pt>
                <c:pt idx="1">
                  <c:v>984.64499999999998</c:v>
                </c:pt>
                <c:pt idx="2">
                  <c:v>2094.5299</c:v>
                </c:pt>
                <c:pt idx="3">
                  <c:v>0</c:v>
                </c:pt>
                <c:pt idx="4">
                  <c:v>1379.1510000000001</c:v>
                </c:pt>
                <c:pt idx="5">
                  <c:v>1259.7398000000001</c:v>
                </c:pt>
                <c:pt idx="6">
                  <c:v>1828.0789</c:v>
                </c:pt>
                <c:pt idx="7">
                  <c:v>0</c:v>
                </c:pt>
                <c:pt idx="8">
                  <c:v>686.49839999999995</c:v>
                </c:pt>
                <c:pt idx="9">
                  <c:v>0</c:v>
                </c:pt>
                <c:pt idx="10">
                  <c:v>1874.1895999999999</c:v>
                </c:pt>
                <c:pt idx="11">
                  <c:v>0</c:v>
                </c:pt>
                <c:pt idx="12">
                  <c:v>1045.0170000000001</c:v>
                </c:pt>
                <c:pt idx="13">
                  <c:v>1038.4126000000001</c:v>
                </c:pt>
                <c:pt idx="14">
                  <c:v>2064.5149999999999</c:v>
                </c:pt>
                <c:pt idx="15">
                  <c:v>0</c:v>
                </c:pt>
                <c:pt idx="16">
                  <c:v>768.51900000000001</c:v>
                </c:pt>
                <c:pt idx="17">
                  <c:v>0</c:v>
                </c:pt>
                <c:pt idx="18">
                  <c:v>13214.6818</c:v>
                </c:pt>
                <c:pt idx="1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9FC2-44BD-9382-9FED24D06814}"/>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9FC2-44BD-9382-9FED24D06814}"/>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CBEAE7"/>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pt idx="16">
                    <c:v>Total</c:v>
                  </c:pt>
                  <c:pt idx="17">
                    <c:v>Hawaiian Tropic</c:v>
                  </c:pt>
                  <c:pt idx="18">
                    <c:v>Total</c:v>
                  </c:pt>
                  <c:pt idx="19">
                    <c:v>Hawaiian Tropic</c:v>
                  </c:pt>
                </c:lvl>
                <c:lvl>
                  <c:pt idx="0">
                    <c:v>Sunscreen Cosmetics Crema</c:v>
                  </c:pt>
                  <c:pt idx="2">
                    <c:v>Sunscreen Cosmetics Liquido</c:v>
                  </c:pt>
                  <c:pt idx="4">
                    <c:v>Sunscreen Derma Crema</c:v>
                  </c:pt>
                  <c:pt idx="6">
                    <c:v>Sunscreen Cosmetics Gel</c:v>
                  </c:pt>
                  <c:pt idx="8">
                    <c:v>Sunscreen Sport Liquido</c:v>
                  </c:pt>
                  <c:pt idx="10">
                    <c:v>Sunscreen Sport Crema</c:v>
                  </c:pt>
                  <c:pt idx="12">
                    <c:v>Sunscreen Cosmetics Locion</c:v>
                  </c:pt>
                  <c:pt idx="14">
                    <c:v>Sunscreen Derma Fluido</c:v>
                  </c:pt>
                  <c:pt idx="16">
                    <c:v>Sunscreen Derma Gel</c:v>
                  </c:pt>
                  <c:pt idx="18">
                    <c:v>Sunscreen Derma Liquido</c:v>
                  </c:pt>
                </c:lvl>
                <c:lvl>
                  <c:pt idx="0">
                    <c:v>Sunscreen</c:v>
                  </c:pt>
                </c:lvl>
              </c:multiLvlStrCache>
            </c:multiLvlStrRef>
          </c:cat>
          <c:val>
            <c:numRef>
              <c:f>Sheet1!$D$2:$D$21</c:f>
              <c:numCache>
                <c:formatCode>General</c:formatCode>
                <c:ptCount val="20"/>
                <c:pt idx="0">
                  <c:v>440.2</c:v>
                </c:pt>
                <c:pt idx="1">
                  <c:v>72.7</c:v>
                </c:pt>
                <c:pt idx="2">
                  <c:v>384.5</c:v>
                </c:pt>
                <c:pt idx="3">
                  <c:v>122.8</c:v>
                </c:pt>
                <c:pt idx="4">
                  <c:v>261.7</c:v>
                </c:pt>
                <c:pt idx="5">
                  <c:v>0</c:v>
                </c:pt>
                <c:pt idx="6">
                  <c:v>91.2</c:v>
                </c:pt>
                <c:pt idx="7">
                  <c:v>0</c:v>
                </c:pt>
                <c:pt idx="8">
                  <c:v>72.3</c:v>
                </c:pt>
                <c:pt idx="9">
                  <c:v>51</c:v>
                </c:pt>
                <c:pt idx="10">
                  <c:v>54.9</c:v>
                </c:pt>
                <c:pt idx="11">
                  <c:v>0</c:v>
                </c:pt>
                <c:pt idx="12">
                  <c:v>49.8</c:v>
                </c:pt>
                <c:pt idx="13">
                  <c:v>0</c:v>
                </c:pt>
                <c:pt idx="14">
                  <c:v>44.9</c:v>
                </c:pt>
                <c:pt idx="15">
                  <c:v>0</c:v>
                </c:pt>
                <c:pt idx="16">
                  <c:v>38.6</c:v>
                </c:pt>
                <c:pt idx="17">
                  <c:v>0</c:v>
                </c:pt>
                <c:pt idx="18">
                  <c:v>35.6</c:v>
                </c:pt>
                <c:pt idx="1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08.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59.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33.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62.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196.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9FC2-44BD-9382-9FED24D06814}"/>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FC2-44BD-9382-9FED24D06814}"/>
                </c:ext>
              </c:extLst>
            </c:dLbl>
            <c:dLbl>
              <c:idx val="6"/>
              <c:tx>
                <c:rich>
                  <a:bodyPr/>
                  <a:lstStyle/>
                  <a:p>
                    <a:r>
                      <a:t>139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9FC2-44BD-9382-9FED24D06814}"/>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FC2-44BD-9382-9FED24D06814}"/>
                </c:ext>
              </c:extLst>
            </c:dLbl>
            <c:dLbl>
              <c:idx val="8"/>
              <c:tx>
                <c:rich>
                  <a:bodyPr/>
                  <a:lstStyle/>
                  <a:p>
                    <a:r>
                      <a:t>1196.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9FC2-44BD-9382-9FED24D06814}"/>
                </c:ext>
              </c:extLst>
            </c:dLbl>
            <c:dLbl>
              <c:idx val="9"/>
              <c:tx>
                <c:rich>
                  <a:bodyPr/>
                  <a:lstStyle/>
                  <a:p>
                    <a:r>
                      <a:t>1169.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FC2-44BD-9382-9FED24D06814}"/>
                </c:ext>
              </c:extLst>
            </c:dLbl>
            <c:dLbl>
              <c:idx val="10"/>
              <c:tx>
                <c:rich>
                  <a:bodyPr/>
                  <a:lstStyle/>
                  <a:p>
                    <a:r>
                      <a:t>86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9FC2-44BD-9382-9FED24D06814}"/>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FC2-44BD-9382-9FED24D06814}"/>
                </c:ext>
              </c:extLst>
            </c:dLbl>
            <c:dLbl>
              <c:idx val="12"/>
              <c:tx>
                <c:rich>
                  <a:bodyPr/>
                  <a:lstStyle/>
                  <a:p>
                    <a:r>
                      <a:t>1373.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9FC2-44BD-9382-9FED24D06814}"/>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FC2-44BD-9382-9FED24D06814}"/>
                </c:ext>
              </c:extLst>
            </c:dLbl>
            <c:dLbl>
              <c:idx val="14"/>
              <c:tx>
                <c:rich>
                  <a:bodyPr/>
                  <a:lstStyle/>
                  <a:p>
                    <a:r>
                      <a:t>13667.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9FC2-44BD-9382-9FED24D06814}"/>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FC2-44BD-9382-9FED24D06814}"/>
                </c:ext>
              </c:extLst>
            </c:dLbl>
            <c:dLbl>
              <c:idx val="16"/>
              <c:tx>
                <c:rich>
                  <a:bodyPr/>
                  <a:lstStyle/>
                  <a:p>
                    <a:r>
                      <a:t>4308.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9FC2-44BD-9382-9FED24D06814}"/>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FC2-44BD-9382-9FED24D06814}"/>
                </c:ext>
              </c:extLst>
            </c:dLbl>
            <c:dLbl>
              <c:idx val="18"/>
              <c:tx>
                <c:rich>
                  <a:bodyPr/>
                  <a:lstStyle/>
                  <a:p>
                    <a:r>
                      <a:t>558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9FC2-44BD-9382-9FED24D06814}"/>
                </c:ext>
              </c:extLst>
            </c:dLbl>
            <c:dLbl>
              <c:idx val="1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FC2-44BD-9382-9FED24D0681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pt idx="16">
                    <c:v>Total</c:v>
                  </c:pt>
                  <c:pt idx="17">
                    <c:v>Hawaiian Tropic</c:v>
                  </c:pt>
                  <c:pt idx="18">
                    <c:v>Total</c:v>
                  </c:pt>
                  <c:pt idx="19">
                    <c:v>Hawaiian Tropic</c:v>
                  </c:pt>
                </c:lvl>
                <c:lvl>
                  <c:pt idx="0">
                    <c:v>Sunscreen Cosmetics Crema</c:v>
                  </c:pt>
                  <c:pt idx="2">
                    <c:v>Sunscreen Cosmetics Liquido</c:v>
                  </c:pt>
                  <c:pt idx="4">
                    <c:v>Sunscreen Derma Crema</c:v>
                  </c:pt>
                  <c:pt idx="6">
                    <c:v>Sunscreen Cosmetics Gel</c:v>
                  </c:pt>
                  <c:pt idx="8">
                    <c:v>Sunscreen Sport Liquido</c:v>
                  </c:pt>
                  <c:pt idx="10">
                    <c:v>Sunscreen Sport Crema</c:v>
                  </c:pt>
                  <c:pt idx="12">
                    <c:v>Sunscreen Cosmetics Locion</c:v>
                  </c:pt>
                  <c:pt idx="14">
                    <c:v>Sunscreen Derma Fluido</c:v>
                  </c:pt>
                  <c:pt idx="16">
                    <c:v>Sunscreen Derma Gel</c:v>
                  </c:pt>
                  <c:pt idx="18">
                    <c:v>Sunscreen Derma Liquido</c:v>
                  </c:pt>
                </c:lvl>
                <c:lvl>
                  <c:pt idx="0">
                    <c:v>Sunscreen</c:v>
                  </c:pt>
                </c:lvl>
              </c:multiLvlStrCache>
            </c:multiLvlStrRef>
          </c:cat>
          <c:val>
            <c:numRef>
              <c:f>Sheet1!$E$2:$E$21</c:f>
              <c:numCache>
                <c:formatCode>General</c:formatCode>
                <c:ptCount val="20"/>
                <c:pt idx="0">
                  <c:v>1308.6448</c:v>
                </c:pt>
                <c:pt idx="1">
                  <c:v>1159.9918</c:v>
                </c:pt>
                <c:pt idx="2">
                  <c:v>1333.1419000000001</c:v>
                </c:pt>
                <c:pt idx="3">
                  <c:v>1262.1690000000001</c:v>
                </c:pt>
                <c:pt idx="4">
                  <c:v>4196.2502999999997</c:v>
                </c:pt>
                <c:pt idx="5">
                  <c:v>0</c:v>
                </c:pt>
                <c:pt idx="6">
                  <c:v>1392.4169999999999</c:v>
                </c:pt>
                <c:pt idx="7">
                  <c:v>0</c:v>
                </c:pt>
                <c:pt idx="8">
                  <c:v>1196.9727</c:v>
                </c:pt>
                <c:pt idx="9">
                  <c:v>1169.3857</c:v>
                </c:pt>
                <c:pt idx="10">
                  <c:v>862.07090000000005</c:v>
                </c:pt>
                <c:pt idx="11">
                  <c:v>0</c:v>
                </c:pt>
                <c:pt idx="12">
                  <c:v>1373.7351000000001</c:v>
                </c:pt>
                <c:pt idx="13">
                  <c:v>0</c:v>
                </c:pt>
                <c:pt idx="14">
                  <c:v>13667.1875</c:v>
                </c:pt>
                <c:pt idx="15">
                  <c:v>0</c:v>
                </c:pt>
                <c:pt idx="16">
                  <c:v>4308.2188999999998</c:v>
                </c:pt>
                <c:pt idx="17">
                  <c:v>0</c:v>
                </c:pt>
                <c:pt idx="18">
                  <c:v>5583.1962000000003</c:v>
                </c:pt>
                <c:pt idx="1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4843-4DC8-8DD5-37A258B63AE0}"/>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4843-4DC8-8DD5-37A258B63AE0}"/>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CBEAE7"/>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pt idx="16">
                    <c:v>Total</c:v>
                  </c:pt>
                  <c:pt idx="17">
                    <c:v>Banana Boat</c:v>
                  </c:pt>
                  <c:pt idx="18">
                    <c:v>Total</c:v>
                  </c:pt>
                  <c:pt idx="19">
                    <c:v>Banana Boat</c:v>
                  </c:pt>
                </c:lvl>
                <c:lvl>
                  <c:pt idx="0">
                    <c:v>Sunscreen Derma Crema</c:v>
                  </c:pt>
                  <c:pt idx="2">
                    <c:v>Sunscreen Cosmetics Crema</c:v>
                  </c:pt>
                  <c:pt idx="4">
                    <c:v>Sunscreen Cosmetics Liquido</c:v>
                  </c:pt>
                  <c:pt idx="6">
                    <c:v>Sunscreen Derma Fluido</c:v>
                  </c:pt>
                  <c:pt idx="8">
                    <c:v>Sunscreen Derma Gel</c:v>
                  </c:pt>
                  <c:pt idx="10">
                    <c:v>Sunscreen Cosmetics Gel</c:v>
                  </c:pt>
                  <c:pt idx="12">
                    <c:v>Sunscreen Derma Liquido</c:v>
                  </c:pt>
                  <c:pt idx="14">
                    <c:v>Sunscreen Sport Liquido</c:v>
                  </c:pt>
                  <c:pt idx="16">
                    <c:v>Sunscreen Sport Crema</c:v>
                  </c:pt>
                  <c:pt idx="18">
                    <c:v>Sunscreen Cosmetics Locion</c:v>
                  </c:pt>
                </c:lvl>
                <c:lvl>
                  <c:pt idx="0">
                    <c:v>Sunscreen</c:v>
                  </c:pt>
                </c:lvl>
              </c:multiLvlStrCache>
            </c:multiLvlStrRef>
          </c:cat>
          <c:val>
            <c:numRef>
              <c:f>Sheet1!$D$2:$D$21</c:f>
              <c:numCache>
                <c:formatCode>General</c:formatCode>
                <c:ptCount val="20"/>
                <c:pt idx="0">
                  <c:v>1164.0999999999999</c:v>
                </c:pt>
                <c:pt idx="1">
                  <c:v>0</c:v>
                </c:pt>
                <c:pt idx="2">
                  <c:v>664</c:v>
                </c:pt>
                <c:pt idx="3">
                  <c:v>42.3</c:v>
                </c:pt>
                <c:pt idx="4">
                  <c:v>601.20000000000005</c:v>
                </c:pt>
                <c:pt idx="5">
                  <c:v>73.099999999999994</c:v>
                </c:pt>
                <c:pt idx="6">
                  <c:v>376.6</c:v>
                </c:pt>
                <c:pt idx="7">
                  <c:v>0</c:v>
                </c:pt>
                <c:pt idx="8">
                  <c:v>316.7</c:v>
                </c:pt>
                <c:pt idx="9">
                  <c:v>0</c:v>
                </c:pt>
                <c:pt idx="10">
                  <c:v>130.4</c:v>
                </c:pt>
                <c:pt idx="11">
                  <c:v>0</c:v>
                </c:pt>
                <c:pt idx="12">
                  <c:v>116.4</c:v>
                </c:pt>
                <c:pt idx="13">
                  <c:v>0</c:v>
                </c:pt>
                <c:pt idx="14">
                  <c:v>107.9</c:v>
                </c:pt>
                <c:pt idx="15">
                  <c:v>30.2</c:v>
                </c:pt>
                <c:pt idx="16">
                  <c:v>79.2</c:v>
                </c:pt>
                <c:pt idx="17">
                  <c:v>53.4</c:v>
                </c:pt>
                <c:pt idx="18">
                  <c:v>72.2</c:v>
                </c:pt>
                <c:pt idx="19">
                  <c:v>65.09999999999999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6133.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50.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07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09.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4843-4DC8-8DD5-37A258B63AE0}"/>
                </c:ext>
              </c:extLst>
            </c:dLbl>
            <c:dLbl>
              <c:idx val="5"/>
              <c:tx>
                <c:rich>
                  <a:bodyPr/>
                  <a:lstStyle/>
                  <a:p>
                    <a:r>
                      <a:t>1262.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4843-4DC8-8DD5-37A258B63AE0}"/>
                </c:ext>
              </c:extLst>
            </c:dLbl>
            <c:dLbl>
              <c:idx val="6"/>
              <c:tx>
                <c:rich>
                  <a:bodyPr/>
                  <a:lstStyle/>
                  <a:p>
                    <a:r>
                      <a:t>13033.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4843-4DC8-8DD5-37A258B63AE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4843-4DC8-8DD5-37A258B63AE0}"/>
                </c:ext>
              </c:extLst>
            </c:dLbl>
            <c:dLbl>
              <c:idx val="8"/>
              <c:tx>
                <c:rich>
                  <a:bodyPr/>
                  <a:lstStyle/>
                  <a:p>
                    <a:r>
                      <a:t>5133.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4843-4DC8-8DD5-37A258B63AE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4843-4DC8-8DD5-37A258B63AE0}"/>
                </c:ext>
              </c:extLst>
            </c:dLbl>
            <c:dLbl>
              <c:idx val="10"/>
              <c:tx>
                <c:rich>
                  <a:bodyPr/>
                  <a:lstStyle/>
                  <a:p>
                    <a:r>
                      <a:t>1493.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4843-4DC8-8DD5-37A258B63AE0}"/>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4843-4DC8-8DD5-37A258B63AE0}"/>
                </c:ext>
              </c:extLst>
            </c:dLbl>
            <c:dLbl>
              <c:idx val="12"/>
              <c:tx>
                <c:rich>
                  <a:bodyPr/>
                  <a:lstStyle/>
                  <a:p>
                    <a:r>
                      <a:t>497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4843-4DC8-8DD5-37A258B63AE0}"/>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4843-4DC8-8DD5-37A258B63AE0}"/>
                </c:ext>
              </c:extLst>
            </c:dLbl>
            <c:dLbl>
              <c:idx val="14"/>
              <c:tx>
                <c:rich>
                  <a:bodyPr/>
                  <a:lstStyle/>
                  <a:p>
                    <a:r>
                      <a:t>1222.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4843-4DC8-8DD5-37A258B63AE0}"/>
                </c:ext>
              </c:extLst>
            </c:dLbl>
            <c:dLbl>
              <c:idx val="15"/>
              <c:tx>
                <c:rich>
                  <a:bodyPr/>
                  <a:lstStyle/>
                  <a:p>
                    <a:r>
                      <a:t>131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4843-4DC8-8DD5-37A258B63AE0}"/>
                </c:ext>
              </c:extLst>
            </c:dLbl>
            <c:dLbl>
              <c:idx val="16"/>
              <c:tx>
                <c:rich>
                  <a:bodyPr/>
                  <a:lstStyle/>
                  <a:p>
                    <a:r>
                      <a:t>905.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4843-4DC8-8DD5-37A258B63AE0}"/>
                </c:ext>
              </c:extLst>
            </c:dLbl>
            <c:dLbl>
              <c:idx val="17"/>
              <c:tx>
                <c:rich>
                  <a:bodyPr/>
                  <a:lstStyle/>
                  <a:p>
                    <a:r>
                      <a:t>1107.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4843-4DC8-8DD5-37A258B63AE0}"/>
                </c:ext>
              </c:extLst>
            </c:dLbl>
            <c:dLbl>
              <c:idx val="18"/>
              <c:tx>
                <c:rich>
                  <a:bodyPr/>
                  <a:lstStyle/>
                  <a:p>
                    <a:r>
                      <a:t>146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4843-4DC8-8DD5-37A258B63AE0}"/>
                </c:ext>
              </c:extLst>
            </c:dLbl>
            <c:dLbl>
              <c:idx val="19"/>
              <c:tx>
                <c:rich>
                  <a:bodyPr/>
                  <a:lstStyle/>
                  <a:p>
                    <a:r>
                      <a:t>1419.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4843-4DC8-8DD5-37A258B63AE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pt idx="16">
                    <c:v>Total</c:v>
                  </c:pt>
                  <c:pt idx="17">
                    <c:v>Banana Boat</c:v>
                  </c:pt>
                  <c:pt idx="18">
                    <c:v>Total</c:v>
                  </c:pt>
                  <c:pt idx="19">
                    <c:v>Banana Boat</c:v>
                  </c:pt>
                </c:lvl>
                <c:lvl>
                  <c:pt idx="0">
                    <c:v>Sunscreen Derma Crema</c:v>
                  </c:pt>
                  <c:pt idx="2">
                    <c:v>Sunscreen Cosmetics Crema</c:v>
                  </c:pt>
                  <c:pt idx="4">
                    <c:v>Sunscreen Cosmetics Liquido</c:v>
                  </c:pt>
                  <c:pt idx="6">
                    <c:v>Sunscreen Derma Fluido</c:v>
                  </c:pt>
                  <c:pt idx="8">
                    <c:v>Sunscreen Derma Gel</c:v>
                  </c:pt>
                  <c:pt idx="10">
                    <c:v>Sunscreen Cosmetics Gel</c:v>
                  </c:pt>
                  <c:pt idx="12">
                    <c:v>Sunscreen Derma Liquido</c:v>
                  </c:pt>
                  <c:pt idx="14">
                    <c:v>Sunscreen Sport Liquido</c:v>
                  </c:pt>
                  <c:pt idx="16">
                    <c:v>Sunscreen Sport Crema</c:v>
                  </c:pt>
                  <c:pt idx="18">
                    <c:v>Sunscreen Cosmetics Locion</c:v>
                  </c:pt>
                </c:lvl>
                <c:lvl>
                  <c:pt idx="0">
                    <c:v>Sunscreen</c:v>
                  </c:pt>
                </c:lvl>
              </c:multiLvlStrCache>
            </c:multiLvlStrRef>
          </c:cat>
          <c:val>
            <c:numRef>
              <c:f>Sheet1!$E$2:$E$21</c:f>
              <c:numCache>
                <c:formatCode>General</c:formatCode>
                <c:ptCount val="20"/>
                <c:pt idx="0">
                  <c:v>6133.5186999999996</c:v>
                </c:pt>
                <c:pt idx="1">
                  <c:v>0</c:v>
                </c:pt>
                <c:pt idx="2">
                  <c:v>1350.7456</c:v>
                </c:pt>
                <c:pt idx="3">
                  <c:v>1070.5005000000001</c:v>
                </c:pt>
                <c:pt idx="4">
                  <c:v>1409.1302000000001</c:v>
                </c:pt>
                <c:pt idx="5">
                  <c:v>1262.4119000000001</c:v>
                </c:pt>
                <c:pt idx="6">
                  <c:v>13033.6865</c:v>
                </c:pt>
                <c:pt idx="7">
                  <c:v>0</c:v>
                </c:pt>
                <c:pt idx="8">
                  <c:v>5133.1099000000004</c:v>
                </c:pt>
                <c:pt idx="9">
                  <c:v>0</c:v>
                </c:pt>
                <c:pt idx="10">
                  <c:v>1493.2309</c:v>
                </c:pt>
                <c:pt idx="11">
                  <c:v>0</c:v>
                </c:pt>
                <c:pt idx="12">
                  <c:v>4974.4035000000003</c:v>
                </c:pt>
                <c:pt idx="13">
                  <c:v>0</c:v>
                </c:pt>
                <c:pt idx="14">
                  <c:v>1222.8746000000001</c:v>
                </c:pt>
                <c:pt idx="15">
                  <c:v>1312.8542</c:v>
                </c:pt>
                <c:pt idx="16">
                  <c:v>905.72450000000003</c:v>
                </c:pt>
                <c:pt idx="17">
                  <c:v>1107.7528</c:v>
                </c:pt>
                <c:pt idx="18">
                  <c:v>1466.9327000000001</c:v>
                </c:pt>
                <c:pt idx="19">
                  <c:v>1419.0056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7C91-422C-8ABA-211F5F96E708}"/>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7C91-422C-8ABA-211F5F96E708}"/>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CBEAE7"/>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pt idx="16">
                    <c:v>Total</c:v>
                  </c:pt>
                  <c:pt idx="17">
                    <c:v>Banana Boat</c:v>
                  </c:pt>
                  <c:pt idx="18">
                    <c:v>Total</c:v>
                  </c:pt>
                  <c:pt idx="19">
                    <c:v>Banana Boat</c:v>
                  </c:pt>
                </c:lvl>
                <c:lvl>
                  <c:pt idx="0">
                    <c:v>Sunscreen Derma Crema</c:v>
                  </c:pt>
                  <c:pt idx="2">
                    <c:v>Sunscreen Cosmetics Crema</c:v>
                  </c:pt>
                  <c:pt idx="4">
                    <c:v>Sunscreen Cosmetics Liquido</c:v>
                  </c:pt>
                  <c:pt idx="6">
                    <c:v>Sunscreen Derma Fluido</c:v>
                  </c:pt>
                  <c:pt idx="8">
                    <c:v>Sunscreen Derma Gel</c:v>
                  </c:pt>
                  <c:pt idx="10">
                    <c:v>Sunscreen Cosmetics Gel</c:v>
                  </c:pt>
                  <c:pt idx="12">
                    <c:v>Sunscreen Derma Liquido</c:v>
                  </c:pt>
                  <c:pt idx="14">
                    <c:v>Sunscreen Sport Liquido</c:v>
                  </c:pt>
                  <c:pt idx="16">
                    <c:v>Sunscreen Sport Crema</c:v>
                  </c:pt>
                  <c:pt idx="18">
                    <c:v>Sunscreen Cosmetics Locion</c:v>
                  </c:pt>
                </c:lvl>
                <c:lvl>
                  <c:pt idx="0">
                    <c:v>Sunscreen</c:v>
                  </c:pt>
                </c:lvl>
              </c:multiLvlStrCache>
            </c:multiLvlStrRef>
          </c:cat>
          <c:val>
            <c:numRef>
              <c:f>Sheet1!$D$2:$D$21</c:f>
              <c:numCache>
                <c:formatCode>General</c:formatCode>
                <c:ptCount val="20"/>
                <c:pt idx="0">
                  <c:v>1029.7</c:v>
                </c:pt>
                <c:pt idx="1">
                  <c:v>0</c:v>
                </c:pt>
                <c:pt idx="2">
                  <c:v>590.6</c:v>
                </c:pt>
                <c:pt idx="3">
                  <c:v>39.299999999999997</c:v>
                </c:pt>
                <c:pt idx="4">
                  <c:v>555.1</c:v>
                </c:pt>
                <c:pt idx="5">
                  <c:v>69.7</c:v>
                </c:pt>
                <c:pt idx="6">
                  <c:v>333.5</c:v>
                </c:pt>
                <c:pt idx="7">
                  <c:v>0</c:v>
                </c:pt>
                <c:pt idx="8">
                  <c:v>291.60000000000002</c:v>
                </c:pt>
                <c:pt idx="9">
                  <c:v>0</c:v>
                </c:pt>
                <c:pt idx="10">
                  <c:v>122.1</c:v>
                </c:pt>
                <c:pt idx="11">
                  <c:v>0</c:v>
                </c:pt>
                <c:pt idx="12">
                  <c:v>111</c:v>
                </c:pt>
                <c:pt idx="13">
                  <c:v>0</c:v>
                </c:pt>
                <c:pt idx="14">
                  <c:v>104.8</c:v>
                </c:pt>
                <c:pt idx="15">
                  <c:v>29.7</c:v>
                </c:pt>
                <c:pt idx="16">
                  <c:v>74.599999999999994</c:v>
                </c:pt>
                <c:pt idx="17">
                  <c:v>50.7</c:v>
                </c:pt>
                <c:pt idx="18">
                  <c:v>68.3</c:v>
                </c:pt>
                <c:pt idx="19">
                  <c:v>61.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6653.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5.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087.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2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C91-422C-8ABA-211F5F96E708}"/>
                </c:ext>
              </c:extLst>
            </c:dLbl>
            <c:dLbl>
              <c:idx val="5"/>
              <c:tx>
                <c:rich>
                  <a:bodyPr/>
                  <a:lstStyle/>
                  <a:p>
                    <a:r>
                      <a:t>1286.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C91-422C-8ABA-211F5F96E708}"/>
                </c:ext>
              </c:extLst>
            </c:dLbl>
            <c:dLbl>
              <c:idx val="6"/>
              <c:tx>
                <c:rich>
                  <a:bodyPr/>
                  <a:lstStyle/>
                  <a:p>
                    <a:r>
                      <a:t>13590.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C91-422C-8ABA-211F5F96E708}"/>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C91-422C-8ABA-211F5F96E708}"/>
                </c:ext>
              </c:extLst>
            </c:dLbl>
            <c:dLbl>
              <c:idx val="8"/>
              <c:tx>
                <c:rich>
                  <a:bodyPr/>
                  <a:lstStyle/>
                  <a:p>
                    <a:r>
                      <a:t>5153.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C91-422C-8ABA-211F5F96E708}"/>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C91-422C-8ABA-211F5F96E708}"/>
                </c:ext>
              </c:extLst>
            </c:dLbl>
            <c:dLbl>
              <c:idx val="10"/>
              <c:tx>
                <c:rich>
                  <a:bodyPr/>
                  <a:lstStyle/>
                  <a:p>
                    <a:r>
                      <a:t>1485.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C91-422C-8ABA-211F5F96E708}"/>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C91-422C-8ABA-211F5F96E708}"/>
                </c:ext>
              </c:extLst>
            </c:dLbl>
            <c:dLbl>
              <c:idx val="12"/>
              <c:tx>
                <c:rich>
                  <a:bodyPr/>
                  <a:lstStyle/>
                  <a:p>
                    <a:r>
                      <a:t>5157.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7C91-422C-8ABA-211F5F96E708}"/>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C91-422C-8ABA-211F5F96E708}"/>
                </c:ext>
              </c:extLst>
            </c:dLbl>
            <c:dLbl>
              <c:idx val="14"/>
              <c:tx>
                <c:rich>
                  <a:bodyPr/>
                  <a:lstStyle/>
                  <a:p>
                    <a:r>
                      <a:t>123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C91-422C-8ABA-211F5F96E708}"/>
                </c:ext>
              </c:extLst>
            </c:dLbl>
            <c:dLbl>
              <c:idx val="15"/>
              <c:tx>
                <c:rich>
                  <a:bodyPr/>
                  <a:lstStyle/>
                  <a:p>
                    <a:r>
                      <a:t>1318.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C91-422C-8ABA-211F5F96E708}"/>
                </c:ext>
              </c:extLst>
            </c:dLbl>
            <c:dLbl>
              <c:idx val="16"/>
              <c:tx>
                <c:rich>
                  <a:bodyPr/>
                  <a:lstStyle/>
                  <a:p>
                    <a:r>
                      <a:t>920.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C91-422C-8ABA-211F5F96E708}"/>
                </c:ext>
              </c:extLst>
            </c:dLbl>
            <c:dLbl>
              <c:idx val="17"/>
              <c:tx>
                <c:rich>
                  <a:bodyPr/>
                  <a:lstStyle/>
                  <a:p>
                    <a:r>
                      <a:t>1122.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C91-422C-8ABA-211F5F96E708}"/>
                </c:ext>
              </c:extLst>
            </c:dLbl>
            <c:dLbl>
              <c:idx val="18"/>
              <c:tx>
                <c:rich>
                  <a:bodyPr/>
                  <a:lstStyle/>
                  <a:p>
                    <a:r>
                      <a:t>1497.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C91-422C-8ABA-211F5F96E708}"/>
                </c:ext>
              </c:extLst>
            </c:dLbl>
            <c:dLbl>
              <c:idx val="19"/>
              <c:tx>
                <c:rich>
                  <a:bodyPr/>
                  <a:lstStyle/>
                  <a:p>
                    <a:r>
                      <a:t>1436.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C91-422C-8ABA-211F5F96E70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pt idx="16">
                    <c:v>Total</c:v>
                  </c:pt>
                  <c:pt idx="17">
                    <c:v>Banana Boat</c:v>
                  </c:pt>
                  <c:pt idx="18">
                    <c:v>Total</c:v>
                  </c:pt>
                  <c:pt idx="19">
                    <c:v>Banana Boat</c:v>
                  </c:pt>
                </c:lvl>
                <c:lvl>
                  <c:pt idx="0">
                    <c:v>Sunscreen Derma Crema</c:v>
                  </c:pt>
                  <c:pt idx="2">
                    <c:v>Sunscreen Cosmetics Crema</c:v>
                  </c:pt>
                  <c:pt idx="4">
                    <c:v>Sunscreen Cosmetics Liquido</c:v>
                  </c:pt>
                  <c:pt idx="6">
                    <c:v>Sunscreen Derma Fluido</c:v>
                  </c:pt>
                  <c:pt idx="8">
                    <c:v>Sunscreen Derma Gel</c:v>
                  </c:pt>
                  <c:pt idx="10">
                    <c:v>Sunscreen Cosmetics Gel</c:v>
                  </c:pt>
                  <c:pt idx="12">
                    <c:v>Sunscreen Derma Liquido</c:v>
                  </c:pt>
                  <c:pt idx="14">
                    <c:v>Sunscreen Sport Liquido</c:v>
                  </c:pt>
                  <c:pt idx="16">
                    <c:v>Sunscreen Sport Crema</c:v>
                  </c:pt>
                  <c:pt idx="18">
                    <c:v>Sunscreen Cosmetics Locion</c:v>
                  </c:pt>
                </c:lvl>
                <c:lvl>
                  <c:pt idx="0">
                    <c:v>Sunscreen</c:v>
                  </c:pt>
                </c:lvl>
              </c:multiLvlStrCache>
            </c:multiLvlStrRef>
          </c:cat>
          <c:val>
            <c:numRef>
              <c:f>Sheet1!$E$2:$E$21</c:f>
              <c:numCache>
                <c:formatCode>General</c:formatCode>
                <c:ptCount val="20"/>
                <c:pt idx="0">
                  <c:v>6653.6706999999997</c:v>
                </c:pt>
                <c:pt idx="1">
                  <c:v>0</c:v>
                </c:pt>
                <c:pt idx="2">
                  <c:v>1385.6142</c:v>
                </c:pt>
                <c:pt idx="3">
                  <c:v>1087.7548999999999</c:v>
                </c:pt>
                <c:pt idx="4">
                  <c:v>1422.7560000000001</c:v>
                </c:pt>
                <c:pt idx="5">
                  <c:v>1286.9245000000001</c:v>
                </c:pt>
                <c:pt idx="6">
                  <c:v>13590.282999999999</c:v>
                </c:pt>
                <c:pt idx="7">
                  <c:v>0</c:v>
                </c:pt>
                <c:pt idx="8">
                  <c:v>5153.4772999999996</c:v>
                </c:pt>
                <c:pt idx="9">
                  <c:v>0</c:v>
                </c:pt>
                <c:pt idx="10">
                  <c:v>1485.1694</c:v>
                </c:pt>
                <c:pt idx="11">
                  <c:v>0</c:v>
                </c:pt>
                <c:pt idx="12">
                  <c:v>5157.1587</c:v>
                </c:pt>
                <c:pt idx="13">
                  <c:v>0</c:v>
                </c:pt>
                <c:pt idx="14">
                  <c:v>1235.0662</c:v>
                </c:pt>
                <c:pt idx="15">
                  <c:v>1318.4695999999999</c:v>
                </c:pt>
                <c:pt idx="16">
                  <c:v>920.01750000000004</c:v>
                </c:pt>
                <c:pt idx="17">
                  <c:v>1122.9501</c:v>
                </c:pt>
                <c:pt idx="18">
                  <c:v>1497.0805</c:v>
                </c:pt>
                <c:pt idx="19">
                  <c:v>1436.518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F601-4ECC-9634-5EDC57B54FD0}"/>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F601-4ECC-9634-5EDC57B54FD0}"/>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pt idx="16">
                    <c:v>Total</c:v>
                  </c:pt>
                  <c:pt idx="17">
                    <c:v>Banana Boat</c:v>
                  </c:pt>
                </c:lvl>
                <c:lvl>
                  <c:pt idx="0">
                    <c:v>Sunscreen Derma Crema</c:v>
                  </c:pt>
                  <c:pt idx="2">
                    <c:v>Sunscreen Derma Fluido</c:v>
                  </c:pt>
                  <c:pt idx="4">
                    <c:v>Sunscreen Derma Gel</c:v>
                  </c:pt>
                  <c:pt idx="6">
                    <c:v>Sunscreen Cosmetics Liquido</c:v>
                  </c:pt>
                  <c:pt idx="8">
                    <c:v>Sunscreen Cosmetics Crema</c:v>
                  </c:pt>
                  <c:pt idx="10">
                    <c:v>Sunscreen Derma Liquido</c:v>
                  </c:pt>
                  <c:pt idx="12">
                    <c:v>Sunscreen Derma Aceite</c:v>
                  </c:pt>
                  <c:pt idx="14">
                    <c:v>Sunscreen Derma Gel-Crema</c:v>
                  </c:pt>
                  <c:pt idx="16">
                    <c:v>Sunscreen Sport Liquido</c:v>
                  </c:pt>
                </c:lvl>
                <c:lvl>
                  <c:pt idx="0">
                    <c:v>Sunscreen</c:v>
                  </c:pt>
                </c:lvl>
              </c:multiLvlStrCache>
            </c:multiLvlStrRef>
          </c:cat>
          <c:val>
            <c:numRef>
              <c:f>Sheet1!$D$2:$D$19</c:f>
              <c:numCache>
                <c:formatCode>General</c:formatCode>
                <c:ptCount val="18"/>
                <c:pt idx="0">
                  <c:v>767.9</c:v>
                </c:pt>
                <c:pt idx="1">
                  <c:v>0</c:v>
                </c:pt>
                <c:pt idx="2">
                  <c:v>288.60000000000002</c:v>
                </c:pt>
                <c:pt idx="3">
                  <c:v>0</c:v>
                </c:pt>
                <c:pt idx="4">
                  <c:v>253</c:v>
                </c:pt>
                <c:pt idx="5">
                  <c:v>0</c:v>
                </c:pt>
                <c:pt idx="6">
                  <c:v>168.8</c:v>
                </c:pt>
                <c:pt idx="7">
                  <c:v>26.6</c:v>
                </c:pt>
                <c:pt idx="8">
                  <c:v>148.9</c:v>
                </c:pt>
                <c:pt idx="9">
                  <c:v>7.9</c:v>
                </c:pt>
                <c:pt idx="10">
                  <c:v>75.400000000000006</c:v>
                </c:pt>
                <c:pt idx="11">
                  <c:v>0</c:v>
                </c:pt>
                <c:pt idx="12">
                  <c:v>51.4</c:v>
                </c:pt>
                <c:pt idx="13">
                  <c:v>0</c:v>
                </c:pt>
                <c:pt idx="14">
                  <c:v>38.9</c:v>
                </c:pt>
                <c:pt idx="15">
                  <c:v>0</c:v>
                </c:pt>
                <c:pt idx="16">
                  <c:v>32.299999999999997</c:v>
                </c:pt>
                <c:pt idx="17">
                  <c:v>8.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8438.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71.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533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F601-4ECC-9634-5EDC57B54FD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F601-4ECC-9634-5EDC57B54FD0}"/>
                </c:ext>
              </c:extLst>
            </c:dLbl>
            <c:dLbl>
              <c:idx val="6"/>
              <c:tx>
                <c:rich>
                  <a:bodyPr/>
                  <a:lstStyle/>
                  <a:p>
                    <a:r>
                      <a:t>1690.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F601-4ECC-9634-5EDC57B54FD0}"/>
                </c:ext>
              </c:extLst>
            </c:dLbl>
            <c:dLbl>
              <c:idx val="7"/>
              <c:tx>
                <c:rich>
                  <a:bodyPr/>
                  <a:lstStyle/>
                  <a:p>
                    <a:r>
                      <a:t>137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F601-4ECC-9634-5EDC57B54FD0}"/>
                </c:ext>
              </c:extLst>
            </c:dLbl>
            <c:dLbl>
              <c:idx val="8"/>
              <c:tx>
                <c:rich>
                  <a:bodyPr/>
                  <a:lstStyle/>
                  <a:p>
                    <a:r>
                      <a:t>1689.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F601-4ECC-9634-5EDC57B54FD0}"/>
                </c:ext>
              </c:extLst>
            </c:dLbl>
            <c:dLbl>
              <c:idx val="9"/>
              <c:tx>
                <c:rich>
                  <a:bodyPr/>
                  <a:lstStyle/>
                  <a:p>
                    <a:r>
                      <a:t>1343.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F601-4ECC-9634-5EDC57B54FD0}"/>
                </c:ext>
              </c:extLst>
            </c:dLbl>
            <c:dLbl>
              <c:idx val="10"/>
              <c:tx>
                <c:rich>
                  <a:bodyPr/>
                  <a:lstStyle/>
                  <a:p>
                    <a:r>
                      <a:t>5083.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F601-4ECC-9634-5EDC57B54FD0}"/>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F601-4ECC-9634-5EDC57B54FD0}"/>
                </c:ext>
              </c:extLst>
            </c:dLbl>
            <c:dLbl>
              <c:idx val="12"/>
              <c:tx>
                <c:rich>
                  <a:bodyPr/>
                  <a:lstStyle/>
                  <a:p>
                    <a:r>
                      <a:t>4481.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F601-4ECC-9634-5EDC57B54FD0}"/>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F601-4ECC-9634-5EDC57B54FD0}"/>
                </c:ext>
              </c:extLst>
            </c:dLbl>
            <c:dLbl>
              <c:idx val="14"/>
              <c:tx>
                <c:rich>
                  <a:bodyPr/>
                  <a:lstStyle/>
                  <a:p>
                    <a:r>
                      <a:t>10908.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F601-4ECC-9634-5EDC57B54FD0}"/>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F601-4ECC-9634-5EDC57B54FD0}"/>
                </c:ext>
              </c:extLst>
            </c:dLbl>
            <c:dLbl>
              <c:idx val="16"/>
              <c:tx>
                <c:rich>
                  <a:bodyPr/>
                  <a:lstStyle/>
                  <a:p>
                    <a:r>
                      <a:t>1336.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F601-4ECC-9634-5EDC57B54FD0}"/>
                </c:ext>
              </c:extLst>
            </c:dLbl>
            <c:dLbl>
              <c:idx val="17"/>
              <c:tx>
                <c:rich>
                  <a:bodyPr/>
                  <a:lstStyle/>
                  <a:p>
                    <a:r>
                      <a:t>1467.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F601-4ECC-9634-5EDC57B54FD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pt idx="16">
                    <c:v>Total</c:v>
                  </c:pt>
                  <c:pt idx="17">
                    <c:v>Banana Boat</c:v>
                  </c:pt>
                </c:lvl>
                <c:lvl>
                  <c:pt idx="0">
                    <c:v>Sunscreen Derma Crema</c:v>
                  </c:pt>
                  <c:pt idx="2">
                    <c:v>Sunscreen Derma Fluido</c:v>
                  </c:pt>
                  <c:pt idx="4">
                    <c:v>Sunscreen Derma Gel</c:v>
                  </c:pt>
                  <c:pt idx="6">
                    <c:v>Sunscreen Cosmetics Liquido</c:v>
                  </c:pt>
                  <c:pt idx="8">
                    <c:v>Sunscreen Cosmetics Crema</c:v>
                  </c:pt>
                  <c:pt idx="10">
                    <c:v>Sunscreen Derma Liquido</c:v>
                  </c:pt>
                  <c:pt idx="12">
                    <c:v>Sunscreen Derma Aceite</c:v>
                  </c:pt>
                  <c:pt idx="14">
                    <c:v>Sunscreen Derma Gel-Crema</c:v>
                  </c:pt>
                  <c:pt idx="16">
                    <c:v>Sunscreen Sport Liquido</c:v>
                  </c:pt>
                </c:lvl>
                <c:lvl>
                  <c:pt idx="0">
                    <c:v>Sunscreen</c:v>
                  </c:pt>
                </c:lvl>
              </c:multiLvlStrCache>
            </c:multiLvlStrRef>
          </c:cat>
          <c:val>
            <c:numRef>
              <c:f>Sheet1!$E$2:$E$19</c:f>
              <c:numCache>
                <c:formatCode>General</c:formatCode>
                <c:ptCount val="18"/>
                <c:pt idx="0">
                  <c:v>8438.1460999999999</c:v>
                </c:pt>
                <c:pt idx="1">
                  <c:v>0</c:v>
                </c:pt>
                <c:pt idx="2">
                  <c:v>13871.3526</c:v>
                </c:pt>
                <c:pt idx="3">
                  <c:v>0</c:v>
                </c:pt>
                <c:pt idx="4">
                  <c:v>5330.2659999999996</c:v>
                </c:pt>
                <c:pt idx="5">
                  <c:v>0</c:v>
                </c:pt>
                <c:pt idx="6">
                  <c:v>1690.0078000000001</c:v>
                </c:pt>
                <c:pt idx="7">
                  <c:v>1379.0904</c:v>
                </c:pt>
                <c:pt idx="8">
                  <c:v>1689.6541999999999</c:v>
                </c:pt>
                <c:pt idx="9">
                  <c:v>1343.0071</c:v>
                </c:pt>
                <c:pt idx="10">
                  <c:v>5083.5600999999997</c:v>
                </c:pt>
                <c:pt idx="11">
                  <c:v>0</c:v>
                </c:pt>
                <c:pt idx="12">
                  <c:v>4481.5495000000001</c:v>
                </c:pt>
                <c:pt idx="13">
                  <c:v>0</c:v>
                </c:pt>
                <c:pt idx="14">
                  <c:v>10908.8266</c:v>
                </c:pt>
                <c:pt idx="15">
                  <c:v>0</c:v>
                </c:pt>
                <c:pt idx="16">
                  <c:v>1336.8777</c:v>
                </c:pt>
                <c:pt idx="17">
                  <c:v>1467.21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D237-4FC0-9550-B984540742F1}"/>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D237-4FC0-9550-B984540742F1}"/>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CBEAE7"/>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pt idx="16">
                    <c:v>Total</c:v>
                  </c:pt>
                  <c:pt idx="17">
                    <c:v>Banana Boat</c:v>
                  </c:pt>
                  <c:pt idx="18">
                    <c:v>Total</c:v>
                  </c:pt>
                  <c:pt idx="19">
                    <c:v>Banana Boat</c:v>
                  </c:pt>
                </c:lvl>
                <c:lvl>
                  <c:pt idx="0">
                    <c:v>Sunscreen Cosmetics Crema</c:v>
                  </c:pt>
                  <c:pt idx="2">
                    <c:v>Sunscreen Derma Crema</c:v>
                  </c:pt>
                  <c:pt idx="4">
                    <c:v>Sunscreen Cosmetics Liquido</c:v>
                  </c:pt>
                  <c:pt idx="6">
                    <c:v>Sunscreen Cosmetics Gel</c:v>
                  </c:pt>
                  <c:pt idx="8">
                    <c:v>Sunscreen Sport Crema</c:v>
                  </c:pt>
                  <c:pt idx="10">
                    <c:v>Sunscreen Derma Gel</c:v>
                  </c:pt>
                  <c:pt idx="12">
                    <c:v>Sunscreen Sport Liquido</c:v>
                  </c:pt>
                  <c:pt idx="14">
                    <c:v>Sunscreen Cosmetics Locion</c:v>
                  </c:pt>
                  <c:pt idx="16">
                    <c:v>Sunscreen Cosmetics Spray</c:v>
                  </c:pt>
                  <c:pt idx="18">
                    <c:v>Sunscreen Derma Fluido</c:v>
                  </c:pt>
                </c:lvl>
                <c:lvl>
                  <c:pt idx="0">
                    <c:v>Sunscreen</c:v>
                  </c:pt>
                </c:lvl>
              </c:multiLvlStrCache>
            </c:multiLvlStrRef>
          </c:cat>
          <c:val>
            <c:numRef>
              <c:f>Sheet1!$D$2:$D$21</c:f>
              <c:numCache>
                <c:formatCode>General</c:formatCode>
                <c:ptCount val="20"/>
                <c:pt idx="0">
                  <c:v>10</c:v>
                </c:pt>
                <c:pt idx="1">
                  <c:v>1</c:v>
                </c:pt>
                <c:pt idx="2">
                  <c:v>5.5</c:v>
                </c:pt>
                <c:pt idx="3">
                  <c:v>0</c:v>
                </c:pt>
                <c:pt idx="4">
                  <c:v>4.9000000000000004</c:v>
                </c:pt>
                <c:pt idx="5">
                  <c:v>0.2</c:v>
                </c:pt>
                <c:pt idx="6">
                  <c:v>1.2</c:v>
                </c:pt>
                <c:pt idx="7">
                  <c:v>0</c:v>
                </c:pt>
                <c:pt idx="8">
                  <c:v>0.9</c:v>
                </c:pt>
                <c:pt idx="9">
                  <c:v>0.2</c:v>
                </c:pt>
                <c:pt idx="10">
                  <c:v>0.7</c:v>
                </c:pt>
                <c:pt idx="11">
                  <c:v>0</c:v>
                </c:pt>
                <c:pt idx="12">
                  <c:v>0.4</c:v>
                </c:pt>
                <c:pt idx="13">
                  <c:v>0.2</c:v>
                </c:pt>
                <c:pt idx="14">
                  <c:v>0.3</c:v>
                </c:pt>
                <c:pt idx="15">
                  <c:v>0.3</c:v>
                </c:pt>
                <c:pt idx="16">
                  <c:v>0.3</c:v>
                </c:pt>
                <c:pt idx="17">
                  <c:v>0</c:v>
                </c:pt>
                <c:pt idx="18">
                  <c:v>0.3</c:v>
                </c:pt>
                <c:pt idx="1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24.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01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094.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379.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D237-4FC0-9550-B984540742F1}"/>
                </c:ext>
              </c:extLst>
            </c:dLbl>
            <c:dLbl>
              <c:idx val="5"/>
              <c:tx>
                <c:rich>
                  <a:bodyPr/>
                  <a:lstStyle/>
                  <a:p>
                    <a:r>
                      <a:t>1473.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D237-4FC0-9550-B984540742F1}"/>
                </c:ext>
              </c:extLst>
            </c:dLbl>
            <c:dLbl>
              <c:idx val="6"/>
              <c:tx>
                <c:rich>
                  <a:bodyPr/>
                  <a:lstStyle/>
                  <a:p>
                    <a:r>
                      <a:t>1828.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D237-4FC0-9550-B984540742F1}"/>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D237-4FC0-9550-B984540742F1}"/>
                </c:ext>
              </c:extLst>
            </c:dLbl>
            <c:dLbl>
              <c:idx val="8"/>
              <c:tx>
                <c:rich>
                  <a:bodyPr/>
                  <a:lstStyle/>
                  <a:p>
                    <a:r>
                      <a:t>68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D237-4FC0-9550-B984540742F1}"/>
                </c:ext>
              </c:extLst>
            </c:dLbl>
            <c:dLbl>
              <c:idx val="9"/>
              <c:tx>
                <c:rich>
                  <a:bodyPr/>
                  <a:lstStyle/>
                  <a:p>
                    <a:r>
                      <a:t>1167.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D237-4FC0-9550-B984540742F1}"/>
                </c:ext>
              </c:extLst>
            </c:dLbl>
            <c:dLbl>
              <c:idx val="10"/>
              <c:tx>
                <c:rich>
                  <a:bodyPr/>
                  <a:lstStyle/>
                  <a:p>
                    <a:r>
                      <a:t>1874.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D237-4FC0-9550-B984540742F1}"/>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D237-4FC0-9550-B984540742F1}"/>
                </c:ext>
              </c:extLst>
            </c:dLbl>
            <c:dLbl>
              <c:idx val="12"/>
              <c:tx>
                <c:rich>
                  <a:bodyPr/>
                  <a:lstStyle/>
                  <a:p>
                    <a:r>
                      <a:t>1045.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D237-4FC0-9550-B984540742F1}"/>
                </c:ext>
              </c:extLst>
            </c:dLbl>
            <c:dLbl>
              <c:idx val="13"/>
              <c:tx>
                <c:rich>
                  <a:bodyPr/>
                  <a:lstStyle/>
                  <a:p>
                    <a:r>
                      <a:t>1057.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D237-4FC0-9550-B984540742F1}"/>
                </c:ext>
              </c:extLst>
            </c:dLbl>
            <c:dLbl>
              <c:idx val="14"/>
              <c:tx>
                <c:rich>
                  <a:bodyPr/>
                  <a:lstStyle/>
                  <a:p>
                    <a:r>
                      <a:t>2064.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D237-4FC0-9550-B984540742F1}"/>
                </c:ext>
              </c:extLst>
            </c:dLbl>
            <c:dLbl>
              <c:idx val="15"/>
              <c:tx>
                <c:rich>
                  <a:bodyPr/>
                  <a:lstStyle/>
                  <a:p>
                    <a:r>
                      <a:t>2099.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D237-4FC0-9550-B984540742F1}"/>
                </c:ext>
              </c:extLst>
            </c:dLbl>
            <c:dLbl>
              <c:idx val="16"/>
              <c:tx>
                <c:rich>
                  <a:bodyPr/>
                  <a:lstStyle/>
                  <a:p>
                    <a:r>
                      <a:t>768.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D237-4FC0-9550-B984540742F1}"/>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D237-4FC0-9550-B984540742F1}"/>
                </c:ext>
              </c:extLst>
            </c:dLbl>
            <c:dLbl>
              <c:idx val="18"/>
              <c:tx>
                <c:rich>
                  <a:bodyPr/>
                  <a:lstStyle/>
                  <a:p>
                    <a:r>
                      <a:t>13214.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D237-4FC0-9550-B984540742F1}"/>
                </c:ext>
              </c:extLst>
            </c:dLbl>
            <c:dLbl>
              <c:idx val="1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D237-4FC0-9550-B984540742F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pt idx="16">
                    <c:v>Total</c:v>
                  </c:pt>
                  <c:pt idx="17">
                    <c:v>Banana Boat</c:v>
                  </c:pt>
                  <c:pt idx="18">
                    <c:v>Total</c:v>
                  </c:pt>
                  <c:pt idx="19">
                    <c:v>Banana Boat</c:v>
                  </c:pt>
                </c:lvl>
                <c:lvl>
                  <c:pt idx="0">
                    <c:v>Sunscreen Cosmetics Crema</c:v>
                  </c:pt>
                  <c:pt idx="2">
                    <c:v>Sunscreen Derma Crema</c:v>
                  </c:pt>
                  <c:pt idx="4">
                    <c:v>Sunscreen Cosmetics Liquido</c:v>
                  </c:pt>
                  <c:pt idx="6">
                    <c:v>Sunscreen Cosmetics Gel</c:v>
                  </c:pt>
                  <c:pt idx="8">
                    <c:v>Sunscreen Sport Crema</c:v>
                  </c:pt>
                  <c:pt idx="10">
                    <c:v>Sunscreen Derma Gel</c:v>
                  </c:pt>
                  <c:pt idx="12">
                    <c:v>Sunscreen Sport Liquido</c:v>
                  </c:pt>
                  <c:pt idx="14">
                    <c:v>Sunscreen Cosmetics Locion</c:v>
                  </c:pt>
                  <c:pt idx="16">
                    <c:v>Sunscreen Cosmetics Spray</c:v>
                  </c:pt>
                  <c:pt idx="18">
                    <c:v>Sunscreen Derma Fluido</c:v>
                  </c:pt>
                </c:lvl>
                <c:lvl>
                  <c:pt idx="0">
                    <c:v>Sunscreen</c:v>
                  </c:pt>
                </c:lvl>
              </c:multiLvlStrCache>
            </c:multiLvlStrRef>
          </c:cat>
          <c:val>
            <c:numRef>
              <c:f>Sheet1!$E$2:$E$21</c:f>
              <c:numCache>
                <c:formatCode>General</c:formatCode>
                <c:ptCount val="20"/>
                <c:pt idx="0">
                  <c:v>1124.7882999999999</c:v>
                </c:pt>
                <c:pt idx="1">
                  <c:v>1016.6974</c:v>
                </c:pt>
                <c:pt idx="2">
                  <c:v>2094.5299</c:v>
                </c:pt>
                <c:pt idx="3">
                  <c:v>0</c:v>
                </c:pt>
                <c:pt idx="4">
                  <c:v>1379.1510000000001</c:v>
                </c:pt>
                <c:pt idx="5">
                  <c:v>1473.6878999999999</c:v>
                </c:pt>
                <c:pt idx="6">
                  <c:v>1828.0789</c:v>
                </c:pt>
                <c:pt idx="7">
                  <c:v>0</c:v>
                </c:pt>
                <c:pt idx="8">
                  <c:v>686.49839999999995</c:v>
                </c:pt>
                <c:pt idx="9">
                  <c:v>1167.4550999999999</c:v>
                </c:pt>
                <c:pt idx="10">
                  <c:v>1874.1895999999999</c:v>
                </c:pt>
                <c:pt idx="11">
                  <c:v>0</c:v>
                </c:pt>
                <c:pt idx="12">
                  <c:v>1045.0170000000001</c:v>
                </c:pt>
                <c:pt idx="13">
                  <c:v>1057.4405999999999</c:v>
                </c:pt>
                <c:pt idx="14">
                  <c:v>2064.5149999999999</c:v>
                </c:pt>
                <c:pt idx="15">
                  <c:v>2099.7568000000001</c:v>
                </c:pt>
                <c:pt idx="16">
                  <c:v>768.51900000000001</c:v>
                </c:pt>
                <c:pt idx="17">
                  <c:v>0</c:v>
                </c:pt>
                <c:pt idx="18">
                  <c:v>13214.6818</c:v>
                </c:pt>
                <c:pt idx="1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86B3A33-CFD0-4EF1-8F65-900E6059B7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68E49D9-16C1-420C-9A42-41CA81664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A2CDF1E-4572-469B-BA00-13F704C6C0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62A2083-B652-4BDE-846D-73E7214B0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F47D240-7BAE-45CF-8172-9612F409E0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07992E6-D57D-4CB4-9F5B-5AE19F9C2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1134380-A874-4A34-B297-BE8AC8A57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172122D-4980-430B-872F-E536AA64EB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95.63639999999998</c:v>
                </c:pt>
              </c:numCache>
            </c:numRef>
          </c:xVal>
          <c:yVal>
            <c:numRef>
              <c:f>Sheet1!$B$2:$B$2</c:f>
              <c:numCache>
                <c:formatCode>General</c:formatCode>
                <c:ptCount val="1"/>
                <c:pt idx="0">
                  <c:v>2.536</c:v>
                </c:pt>
              </c:numCache>
            </c:numRef>
          </c:yVal>
          <c:bubbleSize>
            <c:numRef>
              <c:f>Sheet1!$C$2:$C$2</c:f>
              <c:numCache>
                <c:formatCode>General</c:formatCode>
                <c:ptCount val="1"/>
                <c:pt idx="0">
                  <c:v>21760</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5"/>
          <c:min val="31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FB13-47CA-B09B-B83ADE83B3C3}"/>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FB13-47CA-B09B-B83ADE83B3C3}"/>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CBEAE7"/>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pt idx="16">
                    <c:v>Total</c:v>
                  </c:pt>
                  <c:pt idx="17">
                    <c:v>Banana Boat</c:v>
                  </c:pt>
                  <c:pt idx="18">
                    <c:v>Total</c:v>
                  </c:pt>
                  <c:pt idx="19">
                    <c:v>Banana Boat</c:v>
                  </c:pt>
                </c:lvl>
                <c:lvl>
                  <c:pt idx="0">
                    <c:v>Sunscreen Cosmetics Crema</c:v>
                  </c:pt>
                  <c:pt idx="2">
                    <c:v>Sunscreen Cosmetics Liquido</c:v>
                  </c:pt>
                  <c:pt idx="4">
                    <c:v>Sunscreen Derma Crema</c:v>
                  </c:pt>
                  <c:pt idx="6">
                    <c:v>Sunscreen Cosmetics Gel</c:v>
                  </c:pt>
                  <c:pt idx="8">
                    <c:v>Sunscreen Sport Liquido</c:v>
                  </c:pt>
                  <c:pt idx="10">
                    <c:v>Sunscreen Sport Crema</c:v>
                  </c:pt>
                  <c:pt idx="12">
                    <c:v>Sunscreen Cosmetics Locion</c:v>
                  </c:pt>
                  <c:pt idx="14">
                    <c:v>Sunscreen Derma Fluido</c:v>
                  </c:pt>
                  <c:pt idx="16">
                    <c:v>Sunscreen Derma Gel</c:v>
                  </c:pt>
                  <c:pt idx="18">
                    <c:v>Sunscreen Derma Liquido</c:v>
                  </c:pt>
                </c:lvl>
                <c:lvl>
                  <c:pt idx="0">
                    <c:v>Sunscreen</c:v>
                  </c:pt>
                </c:lvl>
              </c:multiLvlStrCache>
            </c:multiLvlStrRef>
          </c:cat>
          <c:val>
            <c:numRef>
              <c:f>Sheet1!$D$2:$D$21</c:f>
              <c:numCache>
                <c:formatCode>General</c:formatCode>
                <c:ptCount val="20"/>
                <c:pt idx="0">
                  <c:v>440.2</c:v>
                </c:pt>
                <c:pt idx="1">
                  <c:v>31.3</c:v>
                </c:pt>
                <c:pt idx="2">
                  <c:v>384.5</c:v>
                </c:pt>
                <c:pt idx="3">
                  <c:v>43</c:v>
                </c:pt>
                <c:pt idx="4">
                  <c:v>261.7</c:v>
                </c:pt>
                <c:pt idx="5">
                  <c:v>0</c:v>
                </c:pt>
                <c:pt idx="6">
                  <c:v>91.2</c:v>
                </c:pt>
                <c:pt idx="7">
                  <c:v>0</c:v>
                </c:pt>
                <c:pt idx="8">
                  <c:v>72.3</c:v>
                </c:pt>
                <c:pt idx="9">
                  <c:v>21</c:v>
                </c:pt>
                <c:pt idx="10">
                  <c:v>54.9</c:v>
                </c:pt>
                <c:pt idx="11">
                  <c:v>34.9</c:v>
                </c:pt>
                <c:pt idx="12">
                  <c:v>49.8</c:v>
                </c:pt>
                <c:pt idx="13">
                  <c:v>46.6</c:v>
                </c:pt>
                <c:pt idx="14">
                  <c:v>44.9</c:v>
                </c:pt>
                <c:pt idx="15">
                  <c:v>0</c:v>
                </c:pt>
                <c:pt idx="16">
                  <c:v>38.6</c:v>
                </c:pt>
                <c:pt idx="17">
                  <c:v>0</c:v>
                </c:pt>
                <c:pt idx="18">
                  <c:v>35.6</c:v>
                </c:pt>
                <c:pt idx="1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08.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040.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33.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40.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196.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FB13-47CA-B09B-B83ADE83B3C3}"/>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FB13-47CA-B09B-B83ADE83B3C3}"/>
                </c:ext>
              </c:extLst>
            </c:dLbl>
            <c:dLbl>
              <c:idx val="6"/>
              <c:tx>
                <c:rich>
                  <a:bodyPr/>
                  <a:lstStyle/>
                  <a:p>
                    <a:r>
                      <a:t>139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FB13-47CA-B09B-B83ADE83B3C3}"/>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FB13-47CA-B09B-B83ADE83B3C3}"/>
                </c:ext>
              </c:extLst>
            </c:dLbl>
            <c:dLbl>
              <c:idx val="8"/>
              <c:tx>
                <c:rich>
                  <a:bodyPr/>
                  <a:lstStyle/>
                  <a:p>
                    <a:r>
                      <a:t>1196.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FB13-47CA-B09B-B83ADE83B3C3}"/>
                </c:ext>
              </c:extLst>
            </c:dLbl>
            <c:dLbl>
              <c:idx val="9"/>
              <c:tx>
                <c:rich>
                  <a:bodyPr/>
                  <a:lstStyle/>
                  <a:p>
                    <a:r>
                      <a:t>1268.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FB13-47CA-B09B-B83ADE83B3C3}"/>
                </c:ext>
              </c:extLst>
            </c:dLbl>
            <c:dLbl>
              <c:idx val="10"/>
              <c:tx>
                <c:rich>
                  <a:bodyPr/>
                  <a:lstStyle/>
                  <a:p>
                    <a:r>
                      <a:t>86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FB13-47CA-B09B-B83ADE83B3C3}"/>
                </c:ext>
              </c:extLst>
            </c:dLbl>
            <c:dLbl>
              <c:idx val="11"/>
              <c:tx>
                <c:rich>
                  <a:bodyPr/>
                  <a:lstStyle/>
                  <a:p>
                    <a:r>
                      <a:t>1075.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FB13-47CA-B09B-B83ADE83B3C3}"/>
                </c:ext>
              </c:extLst>
            </c:dLbl>
            <c:dLbl>
              <c:idx val="12"/>
              <c:tx>
                <c:rich>
                  <a:bodyPr/>
                  <a:lstStyle/>
                  <a:p>
                    <a:r>
                      <a:t>1373.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FB13-47CA-B09B-B83ADE83B3C3}"/>
                </c:ext>
              </c:extLst>
            </c:dLbl>
            <c:dLbl>
              <c:idx val="13"/>
              <c:tx>
                <c:rich>
                  <a:bodyPr/>
                  <a:lstStyle/>
                  <a:p>
                    <a:r>
                      <a:t>1349.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FB13-47CA-B09B-B83ADE83B3C3}"/>
                </c:ext>
              </c:extLst>
            </c:dLbl>
            <c:dLbl>
              <c:idx val="14"/>
              <c:tx>
                <c:rich>
                  <a:bodyPr/>
                  <a:lstStyle/>
                  <a:p>
                    <a:r>
                      <a:t>13667.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FB13-47CA-B09B-B83ADE83B3C3}"/>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FB13-47CA-B09B-B83ADE83B3C3}"/>
                </c:ext>
              </c:extLst>
            </c:dLbl>
            <c:dLbl>
              <c:idx val="16"/>
              <c:tx>
                <c:rich>
                  <a:bodyPr/>
                  <a:lstStyle/>
                  <a:p>
                    <a:r>
                      <a:t>4308.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FB13-47CA-B09B-B83ADE83B3C3}"/>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FB13-47CA-B09B-B83ADE83B3C3}"/>
                </c:ext>
              </c:extLst>
            </c:dLbl>
            <c:dLbl>
              <c:idx val="18"/>
              <c:tx>
                <c:rich>
                  <a:bodyPr/>
                  <a:lstStyle/>
                  <a:p>
                    <a:r>
                      <a:t>558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FB13-47CA-B09B-B83ADE83B3C3}"/>
                </c:ext>
              </c:extLst>
            </c:dLbl>
            <c:dLbl>
              <c:idx val="1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FB13-47CA-B09B-B83ADE83B3C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pt idx="16">
                    <c:v>Total</c:v>
                  </c:pt>
                  <c:pt idx="17">
                    <c:v>Banana Boat</c:v>
                  </c:pt>
                  <c:pt idx="18">
                    <c:v>Total</c:v>
                  </c:pt>
                  <c:pt idx="19">
                    <c:v>Banana Boat</c:v>
                  </c:pt>
                </c:lvl>
                <c:lvl>
                  <c:pt idx="0">
                    <c:v>Sunscreen Cosmetics Crema</c:v>
                  </c:pt>
                  <c:pt idx="2">
                    <c:v>Sunscreen Cosmetics Liquido</c:v>
                  </c:pt>
                  <c:pt idx="4">
                    <c:v>Sunscreen Derma Crema</c:v>
                  </c:pt>
                  <c:pt idx="6">
                    <c:v>Sunscreen Cosmetics Gel</c:v>
                  </c:pt>
                  <c:pt idx="8">
                    <c:v>Sunscreen Sport Liquido</c:v>
                  </c:pt>
                  <c:pt idx="10">
                    <c:v>Sunscreen Sport Crema</c:v>
                  </c:pt>
                  <c:pt idx="12">
                    <c:v>Sunscreen Cosmetics Locion</c:v>
                  </c:pt>
                  <c:pt idx="14">
                    <c:v>Sunscreen Derma Fluido</c:v>
                  </c:pt>
                  <c:pt idx="16">
                    <c:v>Sunscreen Derma Gel</c:v>
                  </c:pt>
                  <c:pt idx="18">
                    <c:v>Sunscreen Derma Liquido</c:v>
                  </c:pt>
                </c:lvl>
                <c:lvl>
                  <c:pt idx="0">
                    <c:v>Sunscreen</c:v>
                  </c:pt>
                </c:lvl>
              </c:multiLvlStrCache>
            </c:multiLvlStrRef>
          </c:cat>
          <c:val>
            <c:numRef>
              <c:f>Sheet1!$E$2:$E$21</c:f>
              <c:numCache>
                <c:formatCode>General</c:formatCode>
                <c:ptCount val="20"/>
                <c:pt idx="0">
                  <c:v>1308.6448</c:v>
                </c:pt>
                <c:pt idx="1">
                  <c:v>1040.1455000000001</c:v>
                </c:pt>
                <c:pt idx="2">
                  <c:v>1333.1419000000001</c:v>
                </c:pt>
                <c:pt idx="3">
                  <c:v>1240.2072000000001</c:v>
                </c:pt>
                <c:pt idx="4">
                  <c:v>4196.2502999999997</c:v>
                </c:pt>
                <c:pt idx="5">
                  <c:v>0</c:v>
                </c:pt>
                <c:pt idx="6">
                  <c:v>1392.4169999999999</c:v>
                </c:pt>
                <c:pt idx="7">
                  <c:v>0</c:v>
                </c:pt>
                <c:pt idx="8">
                  <c:v>1196.9727</c:v>
                </c:pt>
                <c:pt idx="9">
                  <c:v>1268.6392000000001</c:v>
                </c:pt>
                <c:pt idx="10">
                  <c:v>862.07090000000005</c:v>
                </c:pt>
                <c:pt idx="11">
                  <c:v>1075.0284999999999</c:v>
                </c:pt>
                <c:pt idx="12">
                  <c:v>1373.7351000000001</c:v>
                </c:pt>
                <c:pt idx="13">
                  <c:v>1349.9829</c:v>
                </c:pt>
                <c:pt idx="14">
                  <c:v>13667.1875</c:v>
                </c:pt>
                <c:pt idx="15">
                  <c:v>0</c:v>
                </c:pt>
                <c:pt idx="16">
                  <c:v>4308.2188999999998</c:v>
                </c:pt>
                <c:pt idx="17">
                  <c:v>0</c:v>
                </c:pt>
                <c:pt idx="18">
                  <c:v>5583.1962000000003</c:v>
                </c:pt>
                <c:pt idx="1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D740-4148-BAE8-6F24BBD08206}"/>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D740-4148-BAE8-6F24BBD08206}"/>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CBEAE7"/>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pt idx="16">
                    <c:v>Total</c:v>
                  </c:pt>
                  <c:pt idx="17">
                    <c:v>Beauty Care</c:v>
                  </c:pt>
                  <c:pt idx="18">
                    <c:v>Total</c:v>
                  </c:pt>
                  <c:pt idx="19">
                    <c:v>Beauty Care</c:v>
                  </c:pt>
                </c:lvl>
                <c:lvl>
                  <c:pt idx="0">
                    <c:v>Sunscreen Derma Crema</c:v>
                  </c:pt>
                  <c:pt idx="2">
                    <c:v>Sunscreen Cosmetics Crema</c:v>
                  </c:pt>
                  <c:pt idx="4">
                    <c:v>Sunscreen Cosmetics Liquido</c:v>
                  </c:pt>
                  <c:pt idx="6">
                    <c:v>Sunscreen Derma Fluido</c:v>
                  </c:pt>
                  <c:pt idx="8">
                    <c:v>Sunscreen Derma Gel</c:v>
                  </c:pt>
                  <c:pt idx="10">
                    <c:v>Sunscreen Cosmetics Gel</c:v>
                  </c:pt>
                  <c:pt idx="12">
                    <c:v>Sunscreen Derma Liquido</c:v>
                  </c:pt>
                  <c:pt idx="14">
                    <c:v>Sunscreen Sport Liquido</c:v>
                  </c:pt>
                  <c:pt idx="16">
                    <c:v>Sunscreen Sport Crema</c:v>
                  </c:pt>
                  <c:pt idx="18">
                    <c:v>Sunscreen Cosmetics Locion</c:v>
                  </c:pt>
                </c:lvl>
                <c:lvl>
                  <c:pt idx="0">
                    <c:v>Sunscreen</c:v>
                  </c:pt>
                </c:lvl>
              </c:multiLvlStrCache>
            </c:multiLvlStrRef>
          </c:cat>
          <c:val>
            <c:numRef>
              <c:f>Sheet1!$D$2:$D$21</c:f>
              <c:numCache>
                <c:formatCode>General</c:formatCode>
                <c:ptCount val="20"/>
                <c:pt idx="0">
                  <c:v>1164.0999999999999</c:v>
                </c:pt>
                <c:pt idx="1">
                  <c:v>0</c:v>
                </c:pt>
                <c:pt idx="2">
                  <c:v>664</c:v>
                </c:pt>
                <c:pt idx="3">
                  <c:v>0</c:v>
                </c:pt>
                <c:pt idx="4">
                  <c:v>601.20000000000005</c:v>
                </c:pt>
                <c:pt idx="5">
                  <c:v>13.1</c:v>
                </c:pt>
                <c:pt idx="6">
                  <c:v>376.6</c:v>
                </c:pt>
                <c:pt idx="7">
                  <c:v>0</c:v>
                </c:pt>
                <c:pt idx="8">
                  <c:v>316.7</c:v>
                </c:pt>
                <c:pt idx="9">
                  <c:v>0</c:v>
                </c:pt>
                <c:pt idx="10">
                  <c:v>130.4</c:v>
                </c:pt>
                <c:pt idx="11">
                  <c:v>0</c:v>
                </c:pt>
                <c:pt idx="12">
                  <c:v>116.4</c:v>
                </c:pt>
                <c:pt idx="13">
                  <c:v>0</c:v>
                </c:pt>
                <c:pt idx="14">
                  <c:v>107.9</c:v>
                </c:pt>
                <c:pt idx="15">
                  <c:v>0</c:v>
                </c:pt>
                <c:pt idx="16">
                  <c:v>79.2</c:v>
                </c:pt>
                <c:pt idx="17">
                  <c:v>0</c:v>
                </c:pt>
                <c:pt idx="18">
                  <c:v>72.2</c:v>
                </c:pt>
                <c:pt idx="1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6133.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50.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09.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D740-4148-BAE8-6F24BBD08206}"/>
                </c:ext>
              </c:extLst>
            </c:dLbl>
            <c:dLbl>
              <c:idx val="5"/>
              <c:tx>
                <c:rich>
                  <a:bodyPr/>
                  <a:lstStyle/>
                  <a:p>
                    <a:r>
                      <a:t>392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D740-4148-BAE8-6F24BBD08206}"/>
                </c:ext>
              </c:extLst>
            </c:dLbl>
            <c:dLbl>
              <c:idx val="6"/>
              <c:tx>
                <c:rich>
                  <a:bodyPr/>
                  <a:lstStyle/>
                  <a:p>
                    <a:r>
                      <a:t>13033.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D740-4148-BAE8-6F24BBD08206}"/>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D740-4148-BAE8-6F24BBD08206}"/>
                </c:ext>
              </c:extLst>
            </c:dLbl>
            <c:dLbl>
              <c:idx val="8"/>
              <c:tx>
                <c:rich>
                  <a:bodyPr/>
                  <a:lstStyle/>
                  <a:p>
                    <a:r>
                      <a:t>5133.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D740-4148-BAE8-6F24BBD08206}"/>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D740-4148-BAE8-6F24BBD08206}"/>
                </c:ext>
              </c:extLst>
            </c:dLbl>
            <c:dLbl>
              <c:idx val="10"/>
              <c:tx>
                <c:rich>
                  <a:bodyPr/>
                  <a:lstStyle/>
                  <a:p>
                    <a:r>
                      <a:t>1493.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D740-4148-BAE8-6F24BBD08206}"/>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D740-4148-BAE8-6F24BBD08206}"/>
                </c:ext>
              </c:extLst>
            </c:dLbl>
            <c:dLbl>
              <c:idx val="12"/>
              <c:tx>
                <c:rich>
                  <a:bodyPr/>
                  <a:lstStyle/>
                  <a:p>
                    <a:r>
                      <a:t>497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D740-4148-BAE8-6F24BBD08206}"/>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D740-4148-BAE8-6F24BBD08206}"/>
                </c:ext>
              </c:extLst>
            </c:dLbl>
            <c:dLbl>
              <c:idx val="14"/>
              <c:tx>
                <c:rich>
                  <a:bodyPr/>
                  <a:lstStyle/>
                  <a:p>
                    <a:r>
                      <a:t>1222.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D740-4148-BAE8-6F24BBD08206}"/>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D740-4148-BAE8-6F24BBD08206}"/>
                </c:ext>
              </c:extLst>
            </c:dLbl>
            <c:dLbl>
              <c:idx val="16"/>
              <c:tx>
                <c:rich>
                  <a:bodyPr/>
                  <a:lstStyle/>
                  <a:p>
                    <a:r>
                      <a:t>905.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D740-4148-BAE8-6F24BBD08206}"/>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D740-4148-BAE8-6F24BBD08206}"/>
                </c:ext>
              </c:extLst>
            </c:dLbl>
            <c:dLbl>
              <c:idx val="18"/>
              <c:tx>
                <c:rich>
                  <a:bodyPr/>
                  <a:lstStyle/>
                  <a:p>
                    <a:r>
                      <a:t>146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D740-4148-BAE8-6F24BBD08206}"/>
                </c:ext>
              </c:extLst>
            </c:dLbl>
            <c:dLbl>
              <c:idx val="1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D740-4148-BAE8-6F24BBD0820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pt idx="16">
                    <c:v>Total</c:v>
                  </c:pt>
                  <c:pt idx="17">
                    <c:v>Beauty Care</c:v>
                  </c:pt>
                  <c:pt idx="18">
                    <c:v>Total</c:v>
                  </c:pt>
                  <c:pt idx="19">
                    <c:v>Beauty Care</c:v>
                  </c:pt>
                </c:lvl>
                <c:lvl>
                  <c:pt idx="0">
                    <c:v>Sunscreen Derma Crema</c:v>
                  </c:pt>
                  <c:pt idx="2">
                    <c:v>Sunscreen Cosmetics Crema</c:v>
                  </c:pt>
                  <c:pt idx="4">
                    <c:v>Sunscreen Cosmetics Liquido</c:v>
                  </c:pt>
                  <c:pt idx="6">
                    <c:v>Sunscreen Derma Fluido</c:v>
                  </c:pt>
                  <c:pt idx="8">
                    <c:v>Sunscreen Derma Gel</c:v>
                  </c:pt>
                  <c:pt idx="10">
                    <c:v>Sunscreen Cosmetics Gel</c:v>
                  </c:pt>
                  <c:pt idx="12">
                    <c:v>Sunscreen Derma Liquido</c:v>
                  </c:pt>
                  <c:pt idx="14">
                    <c:v>Sunscreen Sport Liquido</c:v>
                  </c:pt>
                  <c:pt idx="16">
                    <c:v>Sunscreen Sport Crema</c:v>
                  </c:pt>
                  <c:pt idx="18">
                    <c:v>Sunscreen Cosmetics Locion</c:v>
                  </c:pt>
                </c:lvl>
                <c:lvl>
                  <c:pt idx="0">
                    <c:v>Sunscreen</c:v>
                  </c:pt>
                </c:lvl>
              </c:multiLvlStrCache>
            </c:multiLvlStrRef>
          </c:cat>
          <c:val>
            <c:numRef>
              <c:f>Sheet1!$E$2:$E$21</c:f>
              <c:numCache>
                <c:formatCode>General</c:formatCode>
                <c:ptCount val="20"/>
                <c:pt idx="0">
                  <c:v>6133.5186999999996</c:v>
                </c:pt>
                <c:pt idx="1">
                  <c:v>0</c:v>
                </c:pt>
                <c:pt idx="2">
                  <c:v>1350.7456</c:v>
                </c:pt>
                <c:pt idx="3">
                  <c:v>0</c:v>
                </c:pt>
                <c:pt idx="4">
                  <c:v>1409.1302000000001</c:v>
                </c:pt>
                <c:pt idx="5">
                  <c:v>3923.2984000000001</c:v>
                </c:pt>
                <c:pt idx="6">
                  <c:v>13033.6865</c:v>
                </c:pt>
                <c:pt idx="7">
                  <c:v>0</c:v>
                </c:pt>
                <c:pt idx="8">
                  <c:v>5133.1099000000004</c:v>
                </c:pt>
                <c:pt idx="9">
                  <c:v>0</c:v>
                </c:pt>
                <c:pt idx="10">
                  <c:v>1493.2309</c:v>
                </c:pt>
                <c:pt idx="11">
                  <c:v>0</c:v>
                </c:pt>
                <c:pt idx="12">
                  <c:v>4974.4035000000003</c:v>
                </c:pt>
                <c:pt idx="13">
                  <c:v>0</c:v>
                </c:pt>
                <c:pt idx="14">
                  <c:v>1222.8746000000001</c:v>
                </c:pt>
                <c:pt idx="15">
                  <c:v>0</c:v>
                </c:pt>
                <c:pt idx="16">
                  <c:v>905.72450000000003</c:v>
                </c:pt>
                <c:pt idx="17">
                  <c:v>0</c:v>
                </c:pt>
                <c:pt idx="18">
                  <c:v>1466.9327000000001</c:v>
                </c:pt>
                <c:pt idx="1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A5E9-423B-9D9E-76E632015F46}"/>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A5E9-423B-9D9E-76E632015F46}"/>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CBEAE7"/>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pt idx="16">
                    <c:v>Total</c:v>
                  </c:pt>
                  <c:pt idx="17">
                    <c:v>Beauty Care</c:v>
                  </c:pt>
                  <c:pt idx="18">
                    <c:v>Total</c:v>
                  </c:pt>
                  <c:pt idx="19">
                    <c:v>Beauty Care</c:v>
                  </c:pt>
                </c:lvl>
                <c:lvl>
                  <c:pt idx="0">
                    <c:v>Sunscreen Derma Crema</c:v>
                  </c:pt>
                  <c:pt idx="2">
                    <c:v>Sunscreen Cosmetics Crema</c:v>
                  </c:pt>
                  <c:pt idx="4">
                    <c:v>Sunscreen Cosmetics Liquido</c:v>
                  </c:pt>
                  <c:pt idx="6">
                    <c:v>Sunscreen Derma Fluido</c:v>
                  </c:pt>
                  <c:pt idx="8">
                    <c:v>Sunscreen Derma Gel</c:v>
                  </c:pt>
                  <c:pt idx="10">
                    <c:v>Sunscreen Cosmetics Gel</c:v>
                  </c:pt>
                  <c:pt idx="12">
                    <c:v>Sunscreen Derma Liquido</c:v>
                  </c:pt>
                  <c:pt idx="14">
                    <c:v>Sunscreen Sport Liquido</c:v>
                  </c:pt>
                  <c:pt idx="16">
                    <c:v>Sunscreen Sport Crema</c:v>
                  </c:pt>
                  <c:pt idx="18">
                    <c:v>Sunscreen Cosmetics Locion</c:v>
                  </c:pt>
                </c:lvl>
                <c:lvl>
                  <c:pt idx="0">
                    <c:v>Sunscreen</c:v>
                  </c:pt>
                </c:lvl>
              </c:multiLvlStrCache>
            </c:multiLvlStrRef>
          </c:cat>
          <c:val>
            <c:numRef>
              <c:f>Sheet1!$D$2:$D$21</c:f>
              <c:numCache>
                <c:formatCode>General</c:formatCode>
                <c:ptCount val="20"/>
                <c:pt idx="0">
                  <c:v>1029.7</c:v>
                </c:pt>
                <c:pt idx="1">
                  <c:v>0</c:v>
                </c:pt>
                <c:pt idx="2">
                  <c:v>590.6</c:v>
                </c:pt>
                <c:pt idx="3">
                  <c:v>0</c:v>
                </c:pt>
                <c:pt idx="4">
                  <c:v>555.1</c:v>
                </c:pt>
                <c:pt idx="5">
                  <c:v>13</c:v>
                </c:pt>
                <c:pt idx="6">
                  <c:v>333.5</c:v>
                </c:pt>
                <c:pt idx="7">
                  <c:v>0</c:v>
                </c:pt>
                <c:pt idx="8">
                  <c:v>291.60000000000002</c:v>
                </c:pt>
                <c:pt idx="9">
                  <c:v>0</c:v>
                </c:pt>
                <c:pt idx="10">
                  <c:v>122.1</c:v>
                </c:pt>
                <c:pt idx="11">
                  <c:v>0</c:v>
                </c:pt>
                <c:pt idx="12">
                  <c:v>111</c:v>
                </c:pt>
                <c:pt idx="13">
                  <c:v>0</c:v>
                </c:pt>
                <c:pt idx="14">
                  <c:v>104.8</c:v>
                </c:pt>
                <c:pt idx="15">
                  <c:v>0</c:v>
                </c:pt>
                <c:pt idx="16">
                  <c:v>74.599999999999994</c:v>
                </c:pt>
                <c:pt idx="17">
                  <c:v>0</c:v>
                </c:pt>
                <c:pt idx="18">
                  <c:v>68.3</c:v>
                </c:pt>
                <c:pt idx="1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6653.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5.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2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5E9-423B-9D9E-76E632015F46}"/>
                </c:ext>
              </c:extLst>
            </c:dLbl>
            <c:dLbl>
              <c:idx val="5"/>
              <c:tx>
                <c:rich>
                  <a:bodyPr/>
                  <a:lstStyle/>
                  <a:p>
                    <a:r>
                      <a:t>4126.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5E9-423B-9D9E-76E632015F46}"/>
                </c:ext>
              </c:extLst>
            </c:dLbl>
            <c:dLbl>
              <c:idx val="6"/>
              <c:tx>
                <c:rich>
                  <a:bodyPr/>
                  <a:lstStyle/>
                  <a:p>
                    <a:r>
                      <a:t>13590.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5E9-423B-9D9E-76E632015F46}"/>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5E9-423B-9D9E-76E632015F46}"/>
                </c:ext>
              </c:extLst>
            </c:dLbl>
            <c:dLbl>
              <c:idx val="8"/>
              <c:tx>
                <c:rich>
                  <a:bodyPr/>
                  <a:lstStyle/>
                  <a:p>
                    <a:r>
                      <a:t>5153.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5E9-423B-9D9E-76E632015F46}"/>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5E9-423B-9D9E-76E632015F46}"/>
                </c:ext>
              </c:extLst>
            </c:dLbl>
            <c:dLbl>
              <c:idx val="10"/>
              <c:tx>
                <c:rich>
                  <a:bodyPr/>
                  <a:lstStyle/>
                  <a:p>
                    <a:r>
                      <a:t>1485.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5E9-423B-9D9E-76E632015F46}"/>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5E9-423B-9D9E-76E632015F46}"/>
                </c:ext>
              </c:extLst>
            </c:dLbl>
            <c:dLbl>
              <c:idx val="12"/>
              <c:tx>
                <c:rich>
                  <a:bodyPr/>
                  <a:lstStyle/>
                  <a:p>
                    <a:r>
                      <a:t>5157.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5E9-423B-9D9E-76E632015F46}"/>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5E9-423B-9D9E-76E632015F46}"/>
                </c:ext>
              </c:extLst>
            </c:dLbl>
            <c:dLbl>
              <c:idx val="14"/>
              <c:tx>
                <c:rich>
                  <a:bodyPr/>
                  <a:lstStyle/>
                  <a:p>
                    <a:r>
                      <a:t>123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5E9-423B-9D9E-76E632015F46}"/>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5E9-423B-9D9E-76E632015F46}"/>
                </c:ext>
              </c:extLst>
            </c:dLbl>
            <c:dLbl>
              <c:idx val="16"/>
              <c:tx>
                <c:rich>
                  <a:bodyPr/>
                  <a:lstStyle/>
                  <a:p>
                    <a:r>
                      <a:t>920.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5E9-423B-9D9E-76E632015F46}"/>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5E9-423B-9D9E-76E632015F46}"/>
                </c:ext>
              </c:extLst>
            </c:dLbl>
            <c:dLbl>
              <c:idx val="18"/>
              <c:tx>
                <c:rich>
                  <a:bodyPr/>
                  <a:lstStyle/>
                  <a:p>
                    <a:r>
                      <a:t>1497.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5E9-423B-9D9E-76E632015F46}"/>
                </c:ext>
              </c:extLst>
            </c:dLbl>
            <c:dLbl>
              <c:idx val="1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A5E9-423B-9D9E-76E632015F4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pt idx="16">
                    <c:v>Total</c:v>
                  </c:pt>
                  <c:pt idx="17">
                    <c:v>Beauty Care</c:v>
                  </c:pt>
                  <c:pt idx="18">
                    <c:v>Total</c:v>
                  </c:pt>
                  <c:pt idx="19">
                    <c:v>Beauty Care</c:v>
                  </c:pt>
                </c:lvl>
                <c:lvl>
                  <c:pt idx="0">
                    <c:v>Sunscreen Derma Crema</c:v>
                  </c:pt>
                  <c:pt idx="2">
                    <c:v>Sunscreen Cosmetics Crema</c:v>
                  </c:pt>
                  <c:pt idx="4">
                    <c:v>Sunscreen Cosmetics Liquido</c:v>
                  </c:pt>
                  <c:pt idx="6">
                    <c:v>Sunscreen Derma Fluido</c:v>
                  </c:pt>
                  <c:pt idx="8">
                    <c:v>Sunscreen Derma Gel</c:v>
                  </c:pt>
                  <c:pt idx="10">
                    <c:v>Sunscreen Cosmetics Gel</c:v>
                  </c:pt>
                  <c:pt idx="12">
                    <c:v>Sunscreen Derma Liquido</c:v>
                  </c:pt>
                  <c:pt idx="14">
                    <c:v>Sunscreen Sport Liquido</c:v>
                  </c:pt>
                  <c:pt idx="16">
                    <c:v>Sunscreen Sport Crema</c:v>
                  </c:pt>
                  <c:pt idx="18">
                    <c:v>Sunscreen Cosmetics Locion</c:v>
                  </c:pt>
                </c:lvl>
                <c:lvl>
                  <c:pt idx="0">
                    <c:v>Sunscreen</c:v>
                  </c:pt>
                </c:lvl>
              </c:multiLvlStrCache>
            </c:multiLvlStrRef>
          </c:cat>
          <c:val>
            <c:numRef>
              <c:f>Sheet1!$E$2:$E$21</c:f>
              <c:numCache>
                <c:formatCode>General</c:formatCode>
                <c:ptCount val="20"/>
                <c:pt idx="0">
                  <c:v>6653.6706999999997</c:v>
                </c:pt>
                <c:pt idx="1">
                  <c:v>0</c:v>
                </c:pt>
                <c:pt idx="2">
                  <c:v>1385.6142</c:v>
                </c:pt>
                <c:pt idx="3">
                  <c:v>0</c:v>
                </c:pt>
                <c:pt idx="4">
                  <c:v>1422.7560000000001</c:v>
                </c:pt>
                <c:pt idx="5">
                  <c:v>4126.1409999999996</c:v>
                </c:pt>
                <c:pt idx="6">
                  <c:v>13590.282999999999</c:v>
                </c:pt>
                <c:pt idx="7">
                  <c:v>0</c:v>
                </c:pt>
                <c:pt idx="8">
                  <c:v>5153.4772999999996</c:v>
                </c:pt>
                <c:pt idx="9">
                  <c:v>0</c:v>
                </c:pt>
                <c:pt idx="10">
                  <c:v>1485.1694</c:v>
                </c:pt>
                <c:pt idx="11">
                  <c:v>0</c:v>
                </c:pt>
                <c:pt idx="12">
                  <c:v>5157.1587</c:v>
                </c:pt>
                <c:pt idx="13">
                  <c:v>0</c:v>
                </c:pt>
                <c:pt idx="14">
                  <c:v>1235.0662</c:v>
                </c:pt>
                <c:pt idx="15">
                  <c:v>0</c:v>
                </c:pt>
                <c:pt idx="16">
                  <c:v>920.01750000000004</c:v>
                </c:pt>
                <c:pt idx="17">
                  <c:v>0</c:v>
                </c:pt>
                <c:pt idx="18">
                  <c:v>1497.0805</c:v>
                </c:pt>
                <c:pt idx="1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4C06-4B15-9D1C-DBB41E222815}"/>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4C06-4B15-9D1C-DBB41E222815}"/>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pt idx="16">
                    <c:v>Total</c:v>
                  </c:pt>
                  <c:pt idx="17">
                    <c:v>Beauty Care</c:v>
                  </c:pt>
                </c:lvl>
                <c:lvl>
                  <c:pt idx="0">
                    <c:v>Sunscreen Derma Crema</c:v>
                  </c:pt>
                  <c:pt idx="2">
                    <c:v>Sunscreen Derma Fluido</c:v>
                  </c:pt>
                  <c:pt idx="4">
                    <c:v>Sunscreen Derma Gel</c:v>
                  </c:pt>
                  <c:pt idx="6">
                    <c:v>Sunscreen Cosmetics Liquido</c:v>
                  </c:pt>
                  <c:pt idx="8">
                    <c:v>Sunscreen Cosmetics Crema</c:v>
                  </c:pt>
                  <c:pt idx="10">
                    <c:v>Sunscreen Derma Liquido</c:v>
                  </c:pt>
                  <c:pt idx="12">
                    <c:v>Sunscreen Derma Aceite</c:v>
                  </c:pt>
                  <c:pt idx="14">
                    <c:v>Sunscreen Derma Gel-Crema</c:v>
                  </c:pt>
                  <c:pt idx="16">
                    <c:v>Sunscreen Sport Liquido</c:v>
                  </c:pt>
                </c:lvl>
                <c:lvl>
                  <c:pt idx="0">
                    <c:v>Sunscreen</c:v>
                  </c:pt>
                </c:lvl>
              </c:multiLvlStrCache>
            </c:multiLvlStrRef>
          </c:cat>
          <c:val>
            <c:numRef>
              <c:f>Sheet1!$D$2:$D$19</c:f>
              <c:numCache>
                <c:formatCode>General</c:formatCode>
                <c:ptCount val="18"/>
                <c:pt idx="0">
                  <c:v>767.9</c:v>
                </c:pt>
                <c:pt idx="1">
                  <c:v>0</c:v>
                </c:pt>
                <c:pt idx="2">
                  <c:v>288.60000000000002</c:v>
                </c:pt>
                <c:pt idx="3">
                  <c:v>0</c:v>
                </c:pt>
                <c:pt idx="4">
                  <c:v>253</c:v>
                </c:pt>
                <c:pt idx="5">
                  <c:v>0</c:v>
                </c:pt>
                <c:pt idx="6">
                  <c:v>168.8</c:v>
                </c:pt>
                <c:pt idx="7">
                  <c:v>0.5</c:v>
                </c:pt>
                <c:pt idx="8">
                  <c:v>148.9</c:v>
                </c:pt>
                <c:pt idx="9">
                  <c:v>0</c:v>
                </c:pt>
                <c:pt idx="10">
                  <c:v>75.400000000000006</c:v>
                </c:pt>
                <c:pt idx="11">
                  <c:v>0</c:v>
                </c:pt>
                <c:pt idx="12">
                  <c:v>51.4</c:v>
                </c:pt>
                <c:pt idx="13">
                  <c:v>0</c:v>
                </c:pt>
                <c:pt idx="14">
                  <c:v>38.9</c:v>
                </c:pt>
                <c:pt idx="15">
                  <c:v>0</c:v>
                </c:pt>
                <c:pt idx="16">
                  <c:v>32.299999999999997</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8438.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71.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533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4C06-4B15-9D1C-DBB41E222815}"/>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4C06-4B15-9D1C-DBB41E222815}"/>
                </c:ext>
              </c:extLst>
            </c:dLbl>
            <c:dLbl>
              <c:idx val="6"/>
              <c:tx>
                <c:rich>
                  <a:bodyPr/>
                  <a:lstStyle/>
                  <a:p>
                    <a:r>
                      <a:t>1690.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4C06-4B15-9D1C-DBB41E222815}"/>
                </c:ext>
              </c:extLst>
            </c:dLbl>
            <c:dLbl>
              <c:idx val="7"/>
              <c:tx>
                <c:rich>
                  <a:bodyPr/>
                  <a:lstStyle/>
                  <a:p>
                    <a:r>
                      <a:t>1152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4C06-4B15-9D1C-DBB41E222815}"/>
                </c:ext>
              </c:extLst>
            </c:dLbl>
            <c:dLbl>
              <c:idx val="8"/>
              <c:tx>
                <c:rich>
                  <a:bodyPr/>
                  <a:lstStyle/>
                  <a:p>
                    <a:r>
                      <a:t>1689.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4C06-4B15-9D1C-DBB41E222815}"/>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4C06-4B15-9D1C-DBB41E222815}"/>
                </c:ext>
              </c:extLst>
            </c:dLbl>
            <c:dLbl>
              <c:idx val="10"/>
              <c:tx>
                <c:rich>
                  <a:bodyPr/>
                  <a:lstStyle/>
                  <a:p>
                    <a:r>
                      <a:t>5083.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4C06-4B15-9D1C-DBB41E222815}"/>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4C06-4B15-9D1C-DBB41E222815}"/>
                </c:ext>
              </c:extLst>
            </c:dLbl>
            <c:dLbl>
              <c:idx val="12"/>
              <c:tx>
                <c:rich>
                  <a:bodyPr/>
                  <a:lstStyle/>
                  <a:p>
                    <a:r>
                      <a:t>4481.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4C06-4B15-9D1C-DBB41E222815}"/>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4C06-4B15-9D1C-DBB41E222815}"/>
                </c:ext>
              </c:extLst>
            </c:dLbl>
            <c:dLbl>
              <c:idx val="14"/>
              <c:tx>
                <c:rich>
                  <a:bodyPr/>
                  <a:lstStyle/>
                  <a:p>
                    <a:r>
                      <a:t>10908.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4C06-4B15-9D1C-DBB41E222815}"/>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4C06-4B15-9D1C-DBB41E222815}"/>
                </c:ext>
              </c:extLst>
            </c:dLbl>
            <c:dLbl>
              <c:idx val="16"/>
              <c:tx>
                <c:rich>
                  <a:bodyPr/>
                  <a:lstStyle/>
                  <a:p>
                    <a:r>
                      <a:t>1336.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4C06-4B15-9D1C-DBB41E222815}"/>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4C06-4B15-9D1C-DBB41E22281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pt idx="16">
                    <c:v>Total</c:v>
                  </c:pt>
                  <c:pt idx="17">
                    <c:v>Beauty Care</c:v>
                  </c:pt>
                </c:lvl>
                <c:lvl>
                  <c:pt idx="0">
                    <c:v>Sunscreen Derma Crema</c:v>
                  </c:pt>
                  <c:pt idx="2">
                    <c:v>Sunscreen Derma Fluido</c:v>
                  </c:pt>
                  <c:pt idx="4">
                    <c:v>Sunscreen Derma Gel</c:v>
                  </c:pt>
                  <c:pt idx="6">
                    <c:v>Sunscreen Cosmetics Liquido</c:v>
                  </c:pt>
                  <c:pt idx="8">
                    <c:v>Sunscreen Cosmetics Crema</c:v>
                  </c:pt>
                  <c:pt idx="10">
                    <c:v>Sunscreen Derma Liquido</c:v>
                  </c:pt>
                  <c:pt idx="12">
                    <c:v>Sunscreen Derma Aceite</c:v>
                  </c:pt>
                  <c:pt idx="14">
                    <c:v>Sunscreen Derma Gel-Crema</c:v>
                  </c:pt>
                  <c:pt idx="16">
                    <c:v>Sunscreen Sport Liquido</c:v>
                  </c:pt>
                </c:lvl>
                <c:lvl>
                  <c:pt idx="0">
                    <c:v>Sunscreen</c:v>
                  </c:pt>
                </c:lvl>
              </c:multiLvlStrCache>
            </c:multiLvlStrRef>
          </c:cat>
          <c:val>
            <c:numRef>
              <c:f>Sheet1!$E$2:$E$19</c:f>
              <c:numCache>
                <c:formatCode>General</c:formatCode>
                <c:ptCount val="18"/>
                <c:pt idx="0">
                  <c:v>8438.1460999999999</c:v>
                </c:pt>
                <c:pt idx="1">
                  <c:v>0</c:v>
                </c:pt>
                <c:pt idx="2">
                  <c:v>13871.3526</c:v>
                </c:pt>
                <c:pt idx="3">
                  <c:v>0</c:v>
                </c:pt>
                <c:pt idx="4">
                  <c:v>5330.2659999999996</c:v>
                </c:pt>
                <c:pt idx="5">
                  <c:v>0</c:v>
                </c:pt>
                <c:pt idx="6">
                  <c:v>1690.0078000000001</c:v>
                </c:pt>
                <c:pt idx="7">
                  <c:v>11522.434800000001</c:v>
                </c:pt>
                <c:pt idx="8">
                  <c:v>1689.6541999999999</c:v>
                </c:pt>
                <c:pt idx="9">
                  <c:v>0</c:v>
                </c:pt>
                <c:pt idx="10">
                  <c:v>5083.5600999999997</c:v>
                </c:pt>
                <c:pt idx="11">
                  <c:v>0</c:v>
                </c:pt>
                <c:pt idx="12">
                  <c:v>4481.5495000000001</c:v>
                </c:pt>
                <c:pt idx="13">
                  <c:v>0</c:v>
                </c:pt>
                <c:pt idx="14">
                  <c:v>10908.8266</c:v>
                </c:pt>
                <c:pt idx="15">
                  <c:v>0</c:v>
                </c:pt>
                <c:pt idx="16">
                  <c:v>1336.8777</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103A-4C99-B813-06945D38AF0B}"/>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103A-4C99-B813-06945D38AF0B}"/>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CBEAE7"/>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pt idx="16">
                    <c:v>Total</c:v>
                  </c:pt>
                  <c:pt idx="17">
                    <c:v>Beauty Care</c:v>
                  </c:pt>
                  <c:pt idx="18">
                    <c:v>Total</c:v>
                  </c:pt>
                  <c:pt idx="19">
                    <c:v>Beauty Care</c:v>
                  </c:pt>
                </c:lvl>
                <c:lvl>
                  <c:pt idx="0">
                    <c:v>Sunscreen Cosmetics Crema</c:v>
                  </c:pt>
                  <c:pt idx="2">
                    <c:v>Sunscreen Derma Crema</c:v>
                  </c:pt>
                  <c:pt idx="4">
                    <c:v>Sunscreen Cosmetics Liquido</c:v>
                  </c:pt>
                  <c:pt idx="6">
                    <c:v>Sunscreen Cosmetics Gel</c:v>
                  </c:pt>
                  <c:pt idx="8">
                    <c:v>Sunscreen Sport Crema</c:v>
                  </c:pt>
                  <c:pt idx="10">
                    <c:v>Sunscreen Derma Gel</c:v>
                  </c:pt>
                  <c:pt idx="12">
                    <c:v>Sunscreen Sport Liquido</c:v>
                  </c:pt>
                  <c:pt idx="14">
                    <c:v>Sunscreen Cosmetics Locion</c:v>
                  </c:pt>
                  <c:pt idx="16">
                    <c:v>Sunscreen Cosmetics Spray</c:v>
                  </c:pt>
                  <c:pt idx="18">
                    <c:v>Sunscreen Derma Fluido</c:v>
                  </c:pt>
                </c:lvl>
                <c:lvl>
                  <c:pt idx="0">
                    <c:v>Sunscreen</c:v>
                  </c:pt>
                </c:lvl>
              </c:multiLvlStrCache>
            </c:multiLvlStrRef>
          </c:cat>
          <c:val>
            <c:numRef>
              <c:f>Sheet1!$D$2:$D$21</c:f>
              <c:numCache>
                <c:formatCode>General</c:formatCode>
                <c:ptCount val="20"/>
                <c:pt idx="0">
                  <c:v>10</c:v>
                </c:pt>
                <c:pt idx="1">
                  <c:v>0</c:v>
                </c:pt>
                <c:pt idx="2">
                  <c:v>5.5</c:v>
                </c:pt>
                <c:pt idx="3">
                  <c:v>0</c:v>
                </c:pt>
                <c:pt idx="4">
                  <c:v>4.9000000000000004</c:v>
                </c:pt>
                <c:pt idx="5">
                  <c:v>0</c:v>
                </c:pt>
                <c:pt idx="6">
                  <c:v>1.2</c:v>
                </c:pt>
                <c:pt idx="7">
                  <c:v>0</c:v>
                </c:pt>
                <c:pt idx="8">
                  <c:v>0.9</c:v>
                </c:pt>
                <c:pt idx="9">
                  <c:v>0</c:v>
                </c:pt>
                <c:pt idx="10">
                  <c:v>0.7</c:v>
                </c:pt>
                <c:pt idx="11">
                  <c:v>0</c:v>
                </c:pt>
                <c:pt idx="12">
                  <c:v>0.4</c:v>
                </c:pt>
                <c:pt idx="13">
                  <c:v>0</c:v>
                </c:pt>
                <c:pt idx="14">
                  <c:v>0.3</c:v>
                </c:pt>
                <c:pt idx="15">
                  <c:v>0</c:v>
                </c:pt>
                <c:pt idx="16">
                  <c:v>0.3</c:v>
                </c:pt>
                <c:pt idx="17">
                  <c:v>0</c:v>
                </c:pt>
                <c:pt idx="18">
                  <c:v>0.3</c:v>
                </c:pt>
                <c:pt idx="1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24.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094.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379.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03A-4C99-B813-06945D38AF0B}"/>
                </c:ext>
              </c:extLst>
            </c:dLbl>
            <c:dLbl>
              <c:idx val="5"/>
              <c:tx>
                <c:rich>
                  <a:bodyPr/>
                  <a:lstStyle/>
                  <a:p>
                    <a:r>
                      <a:t>1715.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03A-4C99-B813-06945D38AF0B}"/>
                </c:ext>
              </c:extLst>
            </c:dLbl>
            <c:dLbl>
              <c:idx val="6"/>
              <c:tx>
                <c:rich>
                  <a:bodyPr/>
                  <a:lstStyle/>
                  <a:p>
                    <a:r>
                      <a:t>1828.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03A-4C99-B813-06945D38AF0B}"/>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03A-4C99-B813-06945D38AF0B}"/>
                </c:ext>
              </c:extLst>
            </c:dLbl>
            <c:dLbl>
              <c:idx val="8"/>
              <c:tx>
                <c:rich>
                  <a:bodyPr/>
                  <a:lstStyle/>
                  <a:p>
                    <a:r>
                      <a:t>68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03A-4C99-B813-06945D38AF0B}"/>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03A-4C99-B813-06945D38AF0B}"/>
                </c:ext>
              </c:extLst>
            </c:dLbl>
            <c:dLbl>
              <c:idx val="10"/>
              <c:tx>
                <c:rich>
                  <a:bodyPr/>
                  <a:lstStyle/>
                  <a:p>
                    <a:r>
                      <a:t>1874.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03A-4C99-B813-06945D38AF0B}"/>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03A-4C99-B813-06945D38AF0B}"/>
                </c:ext>
              </c:extLst>
            </c:dLbl>
            <c:dLbl>
              <c:idx val="12"/>
              <c:tx>
                <c:rich>
                  <a:bodyPr/>
                  <a:lstStyle/>
                  <a:p>
                    <a:r>
                      <a:t>1045.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03A-4C99-B813-06945D38AF0B}"/>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03A-4C99-B813-06945D38AF0B}"/>
                </c:ext>
              </c:extLst>
            </c:dLbl>
            <c:dLbl>
              <c:idx val="14"/>
              <c:tx>
                <c:rich>
                  <a:bodyPr/>
                  <a:lstStyle/>
                  <a:p>
                    <a:r>
                      <a:t>2064.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03A-4C99-B813-06945D38AF0B}"/>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03A-4C99-B813-06945D38AF0B}"/>
                </c:ext>
              </c:extLst>
            </c:dLbl>
            <c:dLbl>
              <c:idx val="16"/>
              <c:tx>
                <c:rich>
                  <a:bodyPr/>
                  <a:lstStyle/>
                  <a:p>
                    <a:r>
                      <a:t>768.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03A-4C99-B813-06945D38AF0B}"/>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03A-4C99-B813-06945D38AF0B}"/>
                </c:ext>
              </c:extLst>
            </c:dLbl>
            <c:dLbl>
              <c:idx val="18"/>
              <c:tx>
                <c:rich>
                  <a:bodyPr/>
                  <a:lstStyle/>
                  <a:p>
                    <a:r>
                      <a:t>13214.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03A-4C99-B813-06945D38AF0B}"/>
                </c:ext>
              </c:extLst>
            </c:dLbl>
            <c:dLbl>
              <c:idx val="1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03A-4C99-B813-06945D38AF0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pt idx="16">
                    <c:v>Total</c:v>
                  </c:pt>
                  <c:pt idx="17">
                    <c:v>Beauty Care</c:v>
                  </c:pt>
                  <c:pt idx="18">
                    <c:v>Total</c:v>
                  </c:pt>
                  <c:pt idx="19">
                    <c:v>Beauty Care</c:v>
                  </c:pt>
                </c:lvl>
                <c:lvl>
                  <c:pt idx="0">
                    <c:v>Sunscreen Cosmetics Crema</c:v>
                  </c:pt>
                  <c:pt idx="2">
                    <c:v>Sunscreen Derma Crema</c:v>
                  </c:pt>
                  <c:pt idx="4">
                    <c:v>Sunscreen Cosmetics Liquido</c:v>
                  </c:pt>
                  <c:pt idx="6">
                    <c:v>Sunscreen Cosmetics Gel</c:v>
                  </c:pt>
                  <c:pt idx="8">
                    <c:v>Sunscreen Sport Crema</c:v>
                  </c:pt>
                  <c:pt idx="10">
                    <c:v>Sunscreen Derma Gel</c:v>
                  </c:pt>
                  <c:pt idx="12">
                    <c:v>Sunscreen Sport Liquido</c:v>
                  </c:pt>
                  <c:pt idx="14">
                    <c:v>Sunscreen Cosmetics Locion</c:v>
                  </c:pt>
                  <c:pt idx="16">
                    <c:v>Sunscreen Cosmetics Spray</c:v>
                  </c:pt>
                  <c:pt idx="18">
                    <c:v>Sunscreen Derma Fluido</c:v>
                  </c:pt>
                </c:lvl>
                <c:lvl>
                  <c:pt idx="0">
                    <c:v>Sunscreen</c:v>
                  </c:pt>
                </c:lvl>
              </c:multiLvlStrCache>
            </c:multiLvlStrRef>
          </c:cat>
          <c:val>
            <c:numRef>
              <c:f>Sheet1!$E$2:$E$21</c:f>
              <c:numCache>
                <c:formatCode>General</c:formatCode>
                <c:ptCount val="20"/>
                <c:pt idx="0">
                  <c:v>1124.7882999999999</c:v>
                </c:pt>
                <c:pt idx="1">
                  <c:v>0</c:v>
                </c:pt>
                <c:pt idx="2">
                  <c:v>2094.5299</c:v>
                </c:pt>
                <c:pt idx="3">
                  <c:v>0</c:v>
                </c:pt>
                <c:pt idx="4">
                  <c:v>1379.1510000000001</c:v>
                </c:pt>
                <c:pt idx="5">
                  <c:v>1715.6667</c:v>
                </c:pt>
                <c:pt idx="6">
                  <c:v>1828.0789</c:v>
                </c:pt>
                <c:pt idx="7">
                  <c:v>0</c:v>
                </c:pt>
                <c:pt idx="8">
                  <c:v>686.49839999999995</c:v>
                </c:pt>
                <c:pt idx="9">
                  <c:v>0</c:v>
                </c:pt>
                <c:pt idx="10">
                  <c:v>1874.1895999999999</c:v>
                </c:pt>
                <c:pt idx="11">
                  <c:v>0</c:v>
                </c:pt>
                <c:pt idx="12">
                  <c:v>1045.0170000000001</c:v>
                </c:pt>
                <c:pt idx="13">
                  <c:v>0</c:v>
                </c:pt>
                <c:pt idx="14">
                  <c:v>2064.5149999999999</c:v>
                </c:pt>
                <c:pt idx="15">
                  <c:v>0</c:v>
                </c:pt>
                <c:pt idx="16">
                  <c:v>768.51900000000001</c:v>
                </c:pt>
                <c:pt idx="17">
                  <c:v>0</c:v>
                </c:pt>
                <c:pt idx="18">
                  <c:v>13214.6818</c:v>
                </c:pt>
                <c:pt idx="1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27-E8EA-4717-88FE-390351C2981A}"/>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BCBBBB"/>
              </a:solidFill>
              <a:ln>
                <a:noFill/>
              </a:ln>
              <a:effectLst/>
            </c:spPr>
            <c:extLst>
              <c:ext xmlns:c16="http://schemas.microsoft.com/office/drawing/2014/chart" uri="{C3380CC4-5D6E-409C-BE32-E72D297353CC}">
                <c16:uniqueId val="{00000029-E8EA-4717-88FE-390351C2981A}"/>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CBEAE7"/>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pt idx="16">
                    <c:v>Total</c:v>
                  </c:pt>
                  <c:pt idx="17">
                    <c:v>Beauty Care</c:v>
                  </c:pt>
                  <c:pt idx="18">
                    <c:v>Total</c:v>
                  </c:pt>
                  <c:pt idx="19">
                    <c:v>Beauty Care</c:v>
                  </c:pt>
                </c:lvl>
                <c:lvl>
                  <c:pt idx="0">
                    <c:v>Sunscreen Cosmetics Crema</c:v>
                  </c:pt>
                  <c:pt idx="2">
                    <c:v>Sunscreen Cosmetics Liquido</c:v>
                  </c:pt>
                  <c:pt idx="4">
                    <c:v>Sunscreen Derma Crema</c:v>
                  </c:pt>
                  <c:pt idx="6">
                    <c:v>Sunscreen Cosmetics Gel</c:v>
                  </c:pt>
                  <c:pt idx="8">
                    <c:v>Sunscreen Sport Liquido</c:v>
                  </c:pt>
                  <c:pt idx="10">
                    <c:v>Sunscreen Sport Crema</c:v>
                  </c:pt>
                  <c:pt idx="12">
                    <c:v>Sunscreen Cosmetics Locion</c:v>
                  </c:pt>
                  <c:pt idx="14">
                    <c:v>Sunscreen Derma Fluido</c:v>
                  </c:pt>
                  <c:pt idx="16">
                    <c:v>Sunscreen Derma Gel</c:v>
                  </c:pt>
                  <c:pt idx="18">
                    <c:v>Sunscreen Derma Liquido</c:v>
                  </c:pt>
                </c:lvl>
                <c:lvl>
                  <c:pt idx="0">
                    <c:v>Sunscreen</c:v>
                  </c:pt>
                </c:lvl>
              </c:multiLvlStrCache>
            </c:multiLvlStrRef>
          </c:cat>
          <c:val>
            <c:numRef>
              <c:f>Sheet1!$D$2:$D$21</c:f>
              <c:numCache>
                <c:formatCode>General</c:formatCode>
                <c:ptCount val="20"/>
                <c:pt idx="0">
                  <c:v>440.2</c:v>
                </c:pt>
                <c:pt idx="1">
                  <c:v>0</c:v>
                </c:pt>
                <c:pt idx="2">
                  <c:v>384.5</c:v>
                </c:pt>
                <c:pt idx="3">
                  <c:v>12.5</c:v>
                </c:pt>
                <c:pt idx="4">
                  <c:v>261.7</c:v>
                </c:pt>
                <c:pt idx="5">
                  <c:v>0</c:v>
                </c:pt>
                <c:pt idx="6">
                  <c:v>91.2</c:v>
                </c:pt>
                <c:pt idx="7">
                  <c:v>0</c:v>
                </c:pt>
                <c:pt idx="8">
                  <c:v>72.3</c:v>
                </c:pt>
                <c:pt idx="9">
                  <c:v>0</c:v>
                </c:pt>
                <c:pt idx="10">
                  <c:v>54.9</c:v>
                </c:pt>
                <c:pt idx="11">
                  <c:v>0</c:v>
                </c:pt>
                <c:pt idx="12">
                  <c:v>49.8</c:v>
                </c:pt>
                <c:pt idx="13">
                  <c:v>0</c:v>
                </c:pt>
                <c:pt idx="14">
                  <c:v>44.9</c:v>
                </c:pt>
                <c:pt idx="15">
                  <c:v>0</c:v>
                </c:pt>
                <c:pt idx="16">
                  <c:v>38.6</c:v>
                </c:pt>
                <c:pt idx="17">
                  <c:v>0</c:v>
                </c:pt>
                <c:pt idx="18">
                  <c:v>35.6</c:v>
                </c:pt>
                <c:pt idx="1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08.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33.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402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196.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E8EA-4717-88FE-390351C2981A}"/>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E8EA-4717-88FE-390351C2981A}"/>
                </c:ext>
              </c:extLst>
            </c:dLbl>
            <c:dLbl>
              <c:idx val="6"/>
              <c:tx>
                <c:rich>
                  <a:bodyPr/>
                  <a:lstStyle/>
                  <a:p>
                    <a:r>
                      <a:t>139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E8EA-4717-88FE-390351C2981A}"/>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E8EA-4717-88FE-390351C2981A}"/>
                </c:ext>
              </c:extLst>
            </c:dLbl>
            <c:dLbl>
              <c:idx val="8"/>
              <c:tx>
                <c:rich>
                  <a:bodyPr/>
                  <a:lstStyle/>
                  <a:p>
                    <a:r>
                      <a:t>1196.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E8EA-4717-88FE-390351C2981A}"/>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E8EA-4717-88FE-390351C2981A}"/>
                </c:ext>
              </c:extLst>
            </c:dLbl>
            <c:dLbl>
              <c:idx val="10"/>
              <c:tx>
                <c:rich>
                  <a:bodyPr/>
                  <a:lstStyle/>
                  <a:p>
                    <a:r>
                      <a:t>86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E8EA-4717-88FE-390351C2981A}"/>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E8EA-4717-88FE-390351C2981A}"/>
                </c:ext>
              </c:extLst>
            </c:dLbl>
            <c:dLbl>
              <c:idx val="12"/>
              <c:tx>
                <c:rich>
                  <a:bodyPr/>
                  <a:lstStyle/>
                  <a:p>
                    <a:r>
                      <a:t>1373.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E8EA-4717-88FE-390351C2981A}"/>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E8EA-4717-88FE-390351C2981A}"/>
                </c:ext>
              </c:extLst>
            </c:dLbl>
            <c:dLbl>
              <c:idx val="14"/>
              <c:tx>
                <c:rich>
                  <a:bodyPr/>
                  <a:lstStyle/>
                  <a:p>
                    <a:r>
                      <a:t>13667.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E8EA-4717-88FE-390351C2981A}"/>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E8EA-4717-88FE-390351C2981A}"/>
                </c:ext>
              </c:extLst>
            </c:dLbl>
            <c:dLbl>
              <c:idx val="16"/>
              <c:tx>
                <c:rich>
                  <a:bodyPr/>
                  <a:lstStyle/>
                  <a:p>
                    <a:r>
                      <a:t>4308.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E8EA-4717-88FE-390351C2981A}"/>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E8EA-4717-88FE-390351C2981A}"/>
                </c:ext>
              </c:extLst>
            </c:dLbl>
            <c:dLbl>
              <c:idx val="18"/>
              <c:tx>
                <c:rich>
                  <a:bodyPr/>
                  <a:lstStyle/>
                  <a:p>
                    <a:r>
                      <a:t>558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E8EA-4717-88FE-390351C2981A}"/>
                </c:ext>
              </c:extLst>
            </c:dLbl>
            <c:dLbl>
              <c:idx val="1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E8EA-4717-88FE-390351C2981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21</c:f>
              <c:multiLvlStrCache>
                <c:ptCount val="20"/>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pt idx="16">
                    <c:v>Total</c:v>
                  </c:pt>
                  <c:pt idx="17">
                    <c:v>Beauty Care</c:v>
                  </c:pt>
                  <c:pt idx="18">
                    <c:v>Total</c:v>
                  </c:pt>
                  <c:pt idx="19">
                    <c:v>Beauty Care</c:v>
                  </c:pt>
                </c:lvl>
                <c:lvl>
                  <c:pt idx="0">
                    <c:v>Sunscreen Cosmetics Crema</c:v>
                  </c:pt>
                  <c:pt idx="2">
                    <c:v>Sunscreen Cosmetics Liquido</c:v>
                  </c:pt>
                  <c:pt idx="4">
                    <c:v>Sunscreen Derma Crema</c:v>
                  </c:pt>
                  <c:pt idx="6">
                    <c:v>Sunscreen Cosmetics Gel</c:v>
                  </c:pt>
                  <c:pt idx="8">
                    <c:v>Sunscreen Sport Liquido</c:v>
                  </c:pt>
                  <c:pt idx="10">
                    <c:v>Sunscreen Sport Crema</c:v>
                  </c:pt>
                  <c:pt idx="12">
                    <c:v>Sunscreen Cosmetics Locion</c:v>
                  </c:pt>
                  <c:pt idx="14">
                    <c:v>Sunscreen Derma Fluido</c:v>
                  </c:pt>
                  <c:pt idx="16">
                    <c:v>Sunscreen Derma Gel</c:v>
                  </c:pt>
                  <c:pt idx="18">
                    <c:v>Sunscreen Derma Liquido</c:v>
                  </c:pt>
                </c:lvl>
                <c:lvl>
                  <c:pt idx="0">
                    <c:v>Sunscreen</c:v>
                  </c:pt>
                </c:lvl>
              </c:multiLvlStrCache>
            </c:multiLvlStrRef>
          </c:cat>
          <c:val>
            <c:numRef>
              <c:f>Sheet1!$E$2:$E$21</c:f>
              <c:numCache>
                <c:formatCode>General</c:formatCode>
                <c:ptCount val="20"/>
                <c:pt idx="0">
                  <c:v>1308.6448</c:v>
                </c:pt>
                <c:pt idx="1">
                  <c:v>0</c:v>
                </c:pt>
                <c:pt idx="2">
                  <c:v>1333.1419000000001</c:v>
                </c:pt>
                <c:pt idx="3">
                  <c:v>4025.5318000000002</c:v>
                </c:pt>
                <c:pt idx="4">
                  <c:v>4196.2502999999997</c:v>
                </c:pt>
                <c:pt idx="5">
                  <c:v>0</c:v>
                </c:pt>
                <c:pt idx="6">
                  <c:v>1392.4169999999999</c:v>
                </c:pt>
                <c:pt idx="7">
                  <c:v>0</c:v>
                </c:pt>
                <c:pt idx="8">
                  <c:v>1196.9727</c:v>
                </c:pt>
                <c:pt idx="9">
                  <c:v>0</c:v>
                </c:pt>
                <c:pt idx="10">
                  <c:v>862.07090000000005</c:v>
                </c:pt>
                <c:pt idx="11">
                  <c:v>0</c:v>
                </c:pt>
                <c:pt idx="12">
                  <c:v>1373.7351000000001</c:v>
                </c:pt>
                <c:pt idx="13">
                  <c:v>0</c:v>
                </c:pt>
                <c:pt idx="14">
                  <c:v>13667.1875</c:v>
                </c:pt>
                <c:pt idx="15">
                  <c:v>0</c:v>
                </c:pt>
                <c:pt idx="16">
                  <c:v>4308.2188999999998</c:v>
                </c:pt>
                <c:pt idx="17">
                  <c:v>0</c:v>
                </c:pt>
                <c:pt idx="18">
                  <c:v>5583.1962000000003</c:v>
                </c:pt>
                <c:pt idx="1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5C73-416A-9B63-126106829E3D}"/>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c:v>
                  </c:pt>
                  <c:pt idx="2">
                    <c:v>Banded Pack</c:v>
                  </c:pt>
                  <c:pt idx="4">
                    <c:v>After Sun</c:v>
                  </c:pt>
                  <c:pt idx="6">
                    <c:v>Tanning</c:v>
                  </c:pt>
                </c:lvl>
              </c:multiLvlStrCache>
            </c:multiLvlStrRef>
          </c:cat>
          <c:val>
            <c:numRef>
              <c:f>Sheet1!$C$2:$C$9</c:f>
              <c:numCache>
                <c:formatCode>General</c:formatCode>
                <c:ptCount val="8"/>
                <c:pt idx="0">
                  <c:v>3929.3</c:v>
                </c:pt>
                <c:pt idx="1">
                  <c:v>349</c:v>
                </c:pt>
                <c:pt idx="2">
                  <c:v>64.5</c:v>
                </c:pt>
                <c:pt idx="3">
                  <c:v>1.3</c:v>
                </c:pt>
                <c:pt idx="4">
                  <c:v>47.9</c:v>
                </c:pt>
                <c:pt idx="5">
                  <c:v>13.3</c:v>
                </c:pt>
                <c:pt idx="6">
                  <c:v>47.7</c:v>
                </c:pt>
                <c:pt idx="7">
                  <c:v>23.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35.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5C73-416A-9B63-126106829E3D}"/>
                </c:ext>
              </c:extLst>
            </c:dLbl>
            <c:dLbl>
              <c:idx val="1"/>
              <c:tx>
                <c:rich>
                  <a:bodyPr/>
                  <a:lstStyle/>
                  <a:p>
                    <a:r>
                      <a:t>1214.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5C73-416A-9B63-126106829E3D}"/>
                </c:ext>
              </c:extLst>
            </c:dLbl>
            <c:dLbl>
              <c:idx val="2"/>
              <c:tx>
                <c:rich>
                  <a:bodyPr/>
                  <a:lstStyle/>
                  <a:p>
                    <a:r>
                      <a:t>558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5C73-416A-9B63-126106829E3D}"/>
                </c:ext>
              </c:extLst>
            </c:dLbl>
            <c:dLbl>
              <c:idx val="3"/>
              <c:tx>
                <c:rich>
                  <a:bodyPr/>
                  <a:lstStyle/>
                  <a:p>
                    <a:r>
                      <a:t>109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5C73-416A-9B63-126106829E3D}"/>
                </c:ext>
              </c:extLst>
            </c:dLbl>
            <c:dLbl>
              <c:idx val="4"/>
              <c:tx>
                <c:rich>
                  <a:bodyPr/>
                  <a:lstStyle/>
                  <a:p>
                    <a:r>
                      <a:t>575.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5C73-416A-9B63-126106829E3D}"/>
                </c:ext>
              </c:extLst>
            </c:dLbl>
            <c:dLbl>
              <c:idx val="5"/>
              <c:tx>
                <c:rich>
                  <a:bodyPr/>
                  <a:lstStyle/>
                  <a:p>
                    <a:r>
                      <a:t>717.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5C73-416A-9B63-126106829E3D}"/>
                </c:ext>
              </c:extLst>
            </c:dLbl>
            <c:dLbl>
              <c:idx val="6"/>
              <c:tx>
                <c:rich>
                  <a:bodyPr/>
                  <a:lstStyle/>
                  <a:p>
                    <a:r>
                      <a:t>1124.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5C73-416A-9B63-126106829E3D}"/>
                </c:ext>
              </c:extLst>
            </c:dLbl>
            <c:dLbl>
              <c:idx val="7"/>
              <c:tx>
                <c:rich>
                  <a:bodyPr/>
                  <a:lstStyle/>
                  <a:p>
                    <a:r>
                      <a:t>1090.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5C73-416A-9B63-126106829E3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c:v>
                  </c:pt>
                  <c:pt idx="2">
                    <c:v>Banded Pack</c:v>
                  </c:pt>
                  <c:pt idx="4">
                    <c:v>After Sun</c:v>
                  </c:pt>
                  <c:pt idx="6">
                    <c:v>Tanning</c:v>
                  </c:pt>
                </c:lvl>
              </c:multiLvlStrCache>
            </c:multiLvlStrRef>
          </c:cat>
          <c:val>
            <c:numRef>
              <c:f>Sheet1!$D$2:$D$9</c:f>
              <c:numCache>
                <c:formatCode>General</c:formatCode>
                <c:ptCount val="8"/>
                <c:pt idx="0">
                  <c:v>2435.2701999999999</c:v>
                </c:pt>
                <c:pt idx="1">
                  <c:v>1214.3632</c:v>
                </c:pt>
                <c:pt idx="2">
                  <c:v>5580.9314999999997</c:v>
                </c:pt>
                <c:pt idx="3">
                  <c:v>1097.6007</c:v>
                </c:pt>
                <c:pt idx="4">
                  <c:v>575.82299999999998</c:v>
                </c:pt>
                <c:pt idx="5">
                  <c:v>717.25459999999998</c:v>
                </c:pt>
                <c:pt idx="6">
                  <c:v>1124.7554</c:v>
                </c:pt>
                <c:pt idx="7">
                  <c:v>1090.136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0E1A-4F7A-86F2-0404D5C4CB86}"/>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c:v>
                  </c:pt>
                  <c:pt idx="2">
                    <c:v>Banded Pack</c:v>
                  </c:pt>
                  <c:pt idx="4">
                    <c:v>Tanning</c:v>
                  </c:pt>
                  <c:pt idx="6">
                    <c:v>After Sun</c:v>
                  </c:pt>
                </c:lvl>
              </c:multiLvlStrCache>
            </c:multiLvlStrRef>
          </c:cat>
          <c:val>
            <c:numRef>
              <c:f>Sheet1!$C$2:$C$9</c:f>
              <c:numCache>
                <c:formatCode>General</c:formatCode>
                <c:ptCount val="8"/>
                <c:pt idx="0">
                  <c:v>3574.1</c:v>
                </c:pt>
                <c:pt idx="1">
                  <c:v>338.2</c:v>
                </c:pt>
                <c:pt idx="2">
                  <c:v>62.6</c:v>
                </c:pt>
                <c:pt idx="3">
                  <c:v>1.3</c:v>
                </c:pt>
                <c:pt idx="4">
                  <c:v>46.4</c:v>
                </c:pt>
                <c:pt idx="5">
                  <c:v>22.5</c:v>
                </c:pt>
                <c:pt idx="6">
                  <c:v>45.6</c:v>
                </c:pt>
                <c:pt idx="7">
                  <c:v>12.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79.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0E1A-4F7A-86F2-0404D5C4CB86}"/>
                </c:ext>
              </c:extLst>
            </c:dLbl>
            <c:dLbl>
              <c:idx val="1"/>
              <c:tx>
                <c:rich>
                  <a:bodyPr/>
                  <a:lstStyle/>
                  <a:p>
                    <a:r>
                      <a:t>12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0E1A-4F7A-86F2-0404D5C4CB86}"/>
                </c:ext>
              </c:extLst>
            </c:dLbl>
            <c:dLbl>
              <c:idx val="2"/>
              <c:tx>
                <c:rich>
                  <a:bodyPr/>
                  <a:lstStyle/>
                  <a:p>
                    <a:r>
                      <a:t>6726.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E1A-4F7A-86F2-0404D5C4CB86}"/>
                </c:ext>
              </c:extLst>
            </c:dLbl>
            <c:dLbl>
              <c:idx val="3"/>
              <c:tx>
                <c:rich>
                  <a:bodyPr/>
                  <a:lstStyle/>
                  <a:p>
                    <a:r>
                      <a:t>1154.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E1A-4F7A-86F2-0404D5C4CB86}"/>
                </c:ext>
              </c:extLst>
            </c:dLbl>
            <c:dLbl>
              <c:idx val="4"/>
              <c:tx>
                <c:rich>
                  <a:bodyPr/>
                  <a:lstStyle/>
                  <a:p>
                    <a:r>
                      <a:t>1150.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E1A-4F7A-86F2-0404D5C4CB86}"/>
                </c:ext>
              </c:extLst>
            </c:dLbl>
            <c:dLbl>
              <c:idx val="5"/>
              <c:tx>
                <c:rich>
                  <a:bodyPr/>
                  <a:lstStyle/>
                  <a:p>
                    <a:r>
                      <a:t>109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E1A-4F7A-86F2-0404D5C4CB86}"/>
                </c:ext>
              </c:extLst>
            </c:dLbl>
            <c:dLbl>
              <c:idx val="6"/>
              <c:tx>
                <c:rich>
                  <a:bodyPr/>
                  <a:lstStyle/>
                  <a:p>
                    <a:r>
                      <a:t>579.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0E1A-4F7A-86F2-0404D5C4CB86}"/>
                </c:ext>
              </c:extLst>
            </c:dLbl>
            <c:dLbl>
              <c:idx val="7"/>
              <c:tx>
                <c:rich>
                  <a:bodyPr/>
                  <a:lstStyle/>
                  <a:p>
                    <a:r>
                      <a:t>720.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0E1A-4F7A-86F2-0404D5C4CB8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c:v>
                  </c:pt>
                  <c:pt idx="2">
                    <c:v>Banded Pack</c:v>
                  </c:pt>
                  <c:pt idx="4">
                    <c:v>Tanning</c:v>
                  </c:pt>
                  <c:pt idx="6">
                    <c:v>After Sun</c:v>
                  </c:pt>
                </c:lvl>
              </c:multiLvlStrCache>
            </c:multiLvlStrRef>
          </c:cat>
          <c:val>
            <c:numRef>
              <c:f>Sheet1!$D$2:$D$9</c:f>
              <c:numCache>
                <c:formatCode>General</c:formatCode>
                <c:ptCount val="8"/>
                <c:pt idx="0">
                  <c:v>2479.5925999999999</c:v>
                </c:pt>
                <c:pt idx="1">
                  <c:v>1227.3973000000001</c:v>
                </c:pt>
                <c:pt idx="2">
                  <c:v>6726.9660999999996</c:v>
                </c:pt>
                <c:pt idx="3">
                  <c:v>1154.7472</c:v>
                </c:pt>
                <c:pt idx="4">
                  <c:v>1150.0271</c:v>
                </c:pt>
                <c:pt idx="5">
                  <c:v>1099.0913</c:v>
                </c:pt>
                <c:pt idx="6">
                  <c:v>579.65430000000003</c:v>
                </c:pt>
                <c:pt idx="7">
                  <c:v>720.982899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Hawaiian Tropic</c:v>
                  </c:pt>
                  <c:pt idx="2">
                    <c:v>Total</c:v>
                  </c:pt>
                  <c:pt idx="3">
                    <c:v>Hawaiian Tropic</c:v>
                  </c:pt>
                </c:lvl>
                <c:lvl>
                  <c:pt idx="0">
                    <c:v>Sunscreen</c:v>
                  </c:pt>
                  <c:pt idx="2">
                    <c:v>Banded Pack</c:v>
                  </c:pt>
                </c:lvl>
              </c:multiLvlStrCache>
            </c:multiLvlStrRef>
          </c:cat>
          <c:val>
            <c:numRef>
              <c:f>Sheet1!$C$2:$C$5</c:f>
              <c:numCache>
                <c:formatCode>General</c:formatCode>
                <c:ptCount val="4"/>
                <c:pt idx="0">
                  <c:v>2003.1</c:v>
                </c:pt>
                <c:pt idx="1">
                  <c:v>91</c:v>
                </c:pt>
                <c:pt idx="2">
                  <c:v>43.6</c:v>
                </c:pt>
                <c:pt idx="3">
                  <c:v>1.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429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F870-45AB-A365-6C0209B82485}"/>
                </c:ext>
              </c:extLst>
            </c:dLbl>
            <c:dLbl>
              <c:idx val="1"/>
              <c:tx>
                <c:rich>
                  <a:bodyPr/>
                  <a:lstStyle/>
                  <a:p>
                    <a:r>
                      <a:t>1281.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F870-45AB-A365-6C0209B82485}"/>
                </c:ext>
              </c:extLst>
            </c:dLbl>
            <c:dLbl>
              <c:idx val="2"/>
              <c:tx>
                <c:rich>
                  <a:bodyPr/>
                  <a:lstStyle/>
                  <a:p>
                    <a:r>
                      <a:t>8097.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F870-45AB-A365-6C0209B82485}"/>
                </c:ext>
              </c:extLst>
            </c:dLbl>
            <c:dLbl>
              <c:idx val="3"/>
              <c:tx>
                <c:rich>
                  <a:bodyPr/>
                  <a:lstStyle/>
                  <a:p>
                    <a:r>
                      <a:t>1142.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F870-45AB-A365-6C0209B8248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Hawaiian Tropic</c:v>
                  </c:pt>
                  <c:pt idx="2">
                    <c:v>Total</c:v>
                  </c:pt>
                  <c:pt idx="3">
                    <c:v>Hawaiian Tropic</c:v>
                  </c:pt>
                </c:lvl>
                <c:lvl>
                  <c:pt idx="0">
                    <c:v>Sunscreen</c:v>
                  </c:pt>
                  <c:pt idx="2">
                    <c:v>Banded Pack</c:v>
                  </c:pt>
                </c:lvl>
              </c:multiLvlStrCache>
            </c:multiLvlStrRef>
          </c:cat>
          <c:val>
            <c:numRef>
              <c:f>Sheet1!$D$2:$D$5</c:f>
              <c:numCache>
                <c:formatCode>General</c:formatCode>
                <c:ptCount val="4"/>
                <c:pt idx="0">
                  <c:v>4291.7371000000003</c:v>
                </c:pt>
                <c:pt idx="1">
                  <c:v>1281.8778</c:v>
                </c:pt>
                <c:pt idx="2">
                  <c:v>8097.1406999999999</c:v>
                </c:pt>
                <c:pt idx="3">
                  <c:v>1142.86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Hawaiian Tropic</c:v>
                  </c:pt>
                  <c:pt idx="2">
                    <c:v>Total</c:v>
                  </c:pt>
                  <c:pt idx="3">
                    <c:v>Hawaiian Tropic</c:v>
                  </c:pt>
                </c:lvl>
                <c:lvl>
                  <c:pt idx="0">
                    <c:v>Sunscreen</c:v>
                  </c:pt>
                  <c:pt idx="2">
                    <c:v>After Sun</c:v>
                  </c:pt>
                </c:lvl>
              </c:multiLvlStrCache>
            </c:multiLvlStrRef>
          </c:cat>
          <c:val>
            <c:numRef>
              <c:f>Sheet1!$C$2:$C$5</c:f>
              <c:numCache>
                <c:formatCode>General</c:formatCode>
                <c:ptCount val="4"/>
                <c:pt idx="0">
                  <c:v>25.1</c:v>
                </c:pt>
                <c:pt idx="1">
                  <c:v>1</c:v>
                </c:pt>
                <c:pt idx="2">
                  <c:v>0.4</c:v>
                </c:pt>
                <c:pt idx="3">
                  <c:v>0.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37.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626E-4AA5-914F-9952BE51721A}"/>
                </c:ext>
              </c:extLst>
            </c:dLbl>
            <c:dLbl>
              <c:idx val="1"/>
              <c:tx>
                <c:rich>
                  <a:bodyPr/>
                  <a:lstStyle/>
                  <a:p>
                    <a:r>
                      <a:t>1074.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626E-4AA5-914F-9952BE51721A}"/>
                </c:ext>
              </c:extLst>
            </c:dLbl>
            <c:dLbl>
              <c:idx val="2"/>
              <c:tx>
                <c:rich>
                  <a:bodyPr/>
                  <a:lstStyle/>
                  <a:p>
                    <a:r>
                      <a:t>572.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626E-4AA5-914F-9952BE51721A}"/>
                </c:ext>
              </c:extLst>
            </c:dLbl>
            <c:dLbl>
              <c:idx val="3"/>
              <c:tx>
                <c:rich>
                  <a:bodyPr/>
                  <a:lstStyle/>
                  <a:p>
                    <a:r>
                      <a:t>571.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626E-4AA5-914F-9952BE51721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Hawaiian Tropic</c:v>
                  </c:pt>
                  <c:pt idx="2">
                    <c:v>Total</c:v>
                  </c:pt>
                  <c:pt idx="3">
                    <c:v>Hawaiian Tropic</c:v>
                  </c:pt>
                </c:lvl>
                <c:lvl>
                  <c:pt idx="0">
                    <c:v>Sunscreen</c:v>
                  </c:pt>
                  <c:pt idx="2">
                    <c:v>After Sun</c:v>
                  </c:pt>
                </c:lvl>
              </c:multiLvlStrCache>
            </c:multiLvlStrRef>
          </c:cat>
          <c:val>
            <c:numRef>
              <c:f>Sheet1!$D$2:$D$5</c:f>
              <c:numCache>
                <c:formatCode>General</c:formatCode>
                <c:ptCount val="4"/>
                <c:pt idx="0">
                  <c:v>1337.7391</c:v>
                </c:pt>
                <c:pt idx="1">
                  <c:v>1074.412</c:v>
                </c:pt>
                <c:pt idx="2">
                  <c:v>572.21349999999995</c:v>
                </c:pt>
                <c:pt idx="3">
                  <c:v>571.0279000000000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48B2300-8347-485B-AE53-7422B45DE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56B3FD1-D849-4F46-86CB-1C5199E09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929AC7F5-433C-46F8-80DE-857592000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1E5D8D7-5CFE-4AA8-816B-52BFF4C4E7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19F6959-CD58-4578-9166-6AD32ED20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72DA34F9-3797-4957-A10A-98D04B7A74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B0FEC574-E586-454D-A528-E1A3231BC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7643DDC9-FC36-4080-9891-FAC112D4E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7.71620000000001</c:v>
                </c:pt>
                <c:pt idx="1">
                  <c:v>247.16579999999999</c:v>
                </c:pt>
                <c:pt idx="2">
                  <c:v>84.560900000000004</c:v>
                </c:pt>
                <c:pt idx="3">
                  <c:v>241.02350000000001</c:v>
                </c:pt>
                <c:pt idx="4">
                  <c:v>75.1477</c:v>
                </c:pt>
                <c:pt idx="5">
                  <c:v>188.10210000000001</c:v>
                </c:pt>
              </c:numCache>
            </c:numRef>
          </c:xVal>
          <c:yVal>
            <c:numRef>
              <c:f>Sheet1!$B$2:$B$7</c:f>
              <c:numCache>
                <c:formatCode>General</c:formatCode>
                <c:ptCount val="6"/>
                <c:pt idx="0">
                  <c:v>1.82</c:v>
                </c:pt>
                <c:pt idx="1">
                  <c:v>0.84399999999999997</c:v>
                </c:pt>
                <c:pt idx="2">
                  <c:v>0.47799999999999998</c:v>
                </c:pt>
                <c:pt idx="3">
                  <c:v>0.78500000000000003</c:v>
                </c:pt>
                <c:pt idx="4">
                  <c:v>0.45300000000000001</c:v>
                </c:pt>
                <c:pt idx="5">
                  <c:v>3.4319999999999999</c:v>
                </c:pt>
              </c:numCache>
            </c:numRef>
          </c:yVal>
          <c:bubbleSize>
            <c:numRef>
              <c:f>Sheet1!$C$2:$C$7</c:f>
              <c:numCache>
                <c:formatCode>General</c:formatCode>
                <c:ptCount val="6"/>
                <c:pt idx="0">
                  <c:v>293211158</c:v>
                </c:pt>
                <c:pt idx="1">
                  <c:v>100232388</c:v>
                </c:pt>
                <c:pt idx="2">
                  <c:v>56357441</c:v>
                </c:pt>
                <c:pt idx="3">
                  <c:v>39291884</c:v>
                </c:pt>
                <c:pt idx="4">
                  <c:v>28495790</c:v>
                </c:pt>
                <c:pt idx="5">
                  <c:v>27380143</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Caribbean Beach</c:v>
                  </c:pt>
                  <c:pt idx="3">
                    <c:v>Banana Boat</c:v>
                  </c:pt>
                  <c:pt idx="4">
                    <c:v>Nuvel</c:v>
                  </c:pt>
                  <c:pt idx="5">
                    <c:v>Garni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9"/>
          <c:min val="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7836-4440-9E0F-032BB25DBEF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c:v>
                  </c:pt>
                  <c:pt idx="2">
                    <c:v>Tanning</c:v>
                  </c:pt>
                  <c:pt idx="4">
                    <c:v>After Sun</c:v>
                  </c:pt>
                  <c:pt idx="6">
                    <c:v>Banded Pack</c:v>
                  </c:pt>
                </c:lvl>
              </c:multiLvlStrCache>
            </c:multiLvlStrRef>
          </c:cat>
          <c:val>
            <c:numRef>
              <c:f>Sheet1!$C$2:$C$9</c:f>
              <c:numCache>
                <c:formatCode>General</c:formatCode>
                <c:ptCount val="8"/>
                <c:pt idx="0">
                  <c:v>1567.1</c:v>
                </c:pt>
                <c:pt idx="1">
                  <c:v>246.5</c:v>
                </c:pt>
                <c:pt idx="2">
                  <c:v>32.5</c:v>
                </c:pt>
                <c:pt idx="3">
                  <c:v>13.3</c:v>
                </c:pt>
                <c:pt idx="4">
                  <c:v>25</c:v>
                </c:pt>
                <c:pt idx="5">
                  <c:v>9.3000000000000007</c:v>
                </c:pt>
                <c:pt idx="6">
                  <c:v>18.899999999999999</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19.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836-4440-9E0F-032BB25DBEF0}"/>
                </c:ext>
              </c:extLst>
            </c:dLbl>
            <c:dLbl>
              <c:idx val="1"/>
              <c:tx>
                <c:rich>
                  <a:bodyPr/>
                  <a:lstStyle/>
                  <a:p>
                    <a:r>
                      <a:t>1210.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836-4440-9E0F-032BB25DBEF0}"/>
                </c:ext>
              </c:extLst>
            </c:dLbl>
            <c:dLbl>
              <c:idx val="2"/>
              <c:tx>
                <c:rich>
                  <a:bodyPr/>
                  <a:lstStyle/>
                  <a:p>
                    <a:r>
                      <a:t>1116.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836-4440-9E0F-032BB25DBEF0}"/>
                </c:ext>
              </c:extLst>
            </c:dLbl>
            <c:dLbl>
              <c:idx val="3"/>
              <c:tx>
                <c:rich>
                  <a:bodyPr/>
                  <a:lstStyle/>
                  <a:p>
                    <a:r>
                      <a:t>112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836-4440-9E0F-032BB25DBEF0}"/>
                </c:ext>
              </c:extLst>
            </c:dLbl>
            <c:dLbl>
              <c:idx val="4"/>
              <c:tx>
                <c:rich>
                  <a:bodyPr/>
                  <a:lstStyle/>
                  <a:p>
                    <a:r>
                      <a:t>577.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836-4440-9E0F-032BB25DBEF0}"/>
                </c:ext>
              </c:extLst>
            </c:dLbl>
            <c:dLbl>
              <c:idx val="5"/>
              <c:tx>
                <c:rich>
                  <a:bodyPr/>
                  <a:lstStyle/>
                  <a:p>
                    <a:r>
                      <a:t>675.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836-4440-9E0F-032BB25DBEF0}"/>
                </c:ext>
              </c:extLst>
            </c:dLbl>
            <c:dLbl>
              <c:idx val="6"/>
              <c:tx>
                <c:rich>
                  <a:bodyPr/>
                  <a:lstStyle/>
                  <a:p>
                    <a:r>
                      <a:t>496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836-4440-9E0F-032BB25DBEF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836-4440-9E0F-032BB25DBEF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c:v>
                  </c:pt>
                  <c:pt idx="2">
                    <c:v>Tanning</c:v>
                  </c:pt>
                  <c:pt idx="4">
                    <c:v>After Sun</c:v>
                  </c:pt>
                  <c:pt idx="6">
                    <c:v>Banded Pack</c:v>
                  </c:pt>
                </c:lvl>
              </c:multiLvlStrCache>
            </c:multiLvlStrRef>
          </c:cat>
          <c:val>
            <c:numRef>
              <c:f>Sheet1!$D$2:$D$9</c:f>
              <c:numCache>
                <c:formatCode>General</c:formatCode>
                <c:ptCount val="8"/>
                <c:pt idx="0">
                  <c:v>1619.4178999999999</c:v>
                </c:pt>
                <c:pt idx="1">
                  <c:v>1210.8336999999999</c:v>
                </c:pt>
                <c:pt idx="2">
                  <c:v>1116.2927</c:v>
                </c:pt>
                <c:pt idx="3">
                  <c:v>1122.9222</c:v>
                </c:pt>
                <c:pt idx="4">
                  <c:v>577.77239999999995</c:v>
                </c:pt>
                <c:pt idx="5">
                  <c:v>675.81579999999997</c:v>
                </c:pt>
                <c:pt idx="6">
                  <c:v>4966.2389999999996</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6EB0-4653-BAA2-FAF8C1202B51}"/>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c:v>
                  </c:pt>
                  <c:pt idx="2">
                    <c:v>Banded Pack</c:v>
                  </c:pt>
                  <c:pt idx="4">
                    <c:v>After Sun</c:v>
                  </c:pt>
                  <c:pt idx="6">
                    <c:v>Tanning</c:v>
                  </c:pt>
                </c:lvl>
              </c:multiLvlStrCache>
            </c:multiLvlStrRef>
          </c:cat>
          <c:val>
            <c:numRef>
              <c:f>Sheet1!$C$2:$C$9</c:f>
              <c:numCache>
                <c:formatCode>General</c:formatCode>
                <c:ptCount val="8"/>
                <c:pt idx="0">
                  <c:v>3929.3</c:v>
                </c:pt>
                <c:pt idx="1">
                  <c:v>303.10000000000002</c:v>
                </c:pt>
                <c:pt idx="2">
                  <c:v>64.5</c:v>
                </c:pt>
                <c:pt idx="3">
                  <c:v>1</c:v>
                </c:pt>
                <c:pt idx="4">
                  <c:v>47.9</c:v>
                </c:pt>
                <c:pt idx="5">
                  <c:v>21.3</c:v>
                </c:pt>
                <c:pt idx="6">
                  <c:v>47.7</c:v>
                </c:pt>
                <c:pt idx="7">
                  <c:v>4.099999999999999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35.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6EB0-4653-BAA2-FAF8C1202B51}"/>
                </c:ext>
              </c:extLst>
            </c:dLbl>
            <c:dLbl>
              <c:idx val="1"/>
              <c:tx>
                <c:rich>
                  <a:bodyPr/>
                  <a:lstStyle/>
                  <a:p>
                    <a:r>
                      <a:t>125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6EB0-4653-BAA2-FAF8C1202B51}"/>
                </c:ext>
              </c:extLst>
            </c:dLbl>
            <c:dLbl>
              <c:idx val="2"/>
              <c:tx>
                <c:rich>
                  <a:bodyPr/>
                  <a:lstStyle/>
                  <a:p>
                    <a:r>
                      <a:t>558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EB0-4653-BAA2-FAF8C1202B51}"/>
                </c:ext>
              </c:extLst>
            </c:dLbl>
            <c:dLbl>
              <c:idx val="3"/>
              <c:tx>
                <c:rich>
                  <a:bodyPr/>
                  <a:lstStyle/>
                  <a:p>
                    <a:r>
                      <a:t>970.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EB0-4653-BAA2-FAF8C1202B51}"/>
                </c:ext>
              </c:extLst>
            </c:dLbl>
            <c:dLbl>
              <c:idx val="4"/>
              <c:tx>
                <c:rich>
                  <a:bodyPr/>
                  <a:lstStyle/>
                  <a:p>
                    <a:r>
                      <a:t>575.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6EB0-4653-BAA2-FAF8C1202B51}"/>
                </c:ext>
              </c:extLst>
            </c:dLbl>
            <c:dLbl>
              <c:idx val="5"/>
              <c:tx>
                <c:rich>
                  <a:bodyPr/>
                  <a:lstStyle/>
                  <a:p>
                    <a:r>
                      <a:t>542.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6EB0-4653-BAA2-FAF8C1202B51}"/>
                </c:ext>
              </c:extLst>
            </c:dLbl>
            <c:dLbl>
              <c:idx val="6"/>
              <c:tx>
                <c:rich>
                  <a:bodyPr/>
                  <a:lstStyle/>
                  <a:p>
                    <a:r>
                      <a:t>1124.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6EB0-4653-BAA2-FAF8C1202B51}"/>
                </c:ext>
              </c:extLst>
            </c:dLbl>
            <c:dLbl>
              <c:idx val="7"/>
              <c:tx>
                <c:rich>
                  <a:bodyPr/>
                  <a:lstStyle/>
                  <a:p>
                    <a:r>
                      <a:t>99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6EB0-4653-BAA2-FAF8C1202B5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c:v>
                  </c:pt>
                  <c:pt idx="2">
                    <c:v>Banded Pack</c:v>
                  </c:pt>
                  <c:pt idx="4">
                    <c:v>After Sun</c:v>
                  </c:pt>
                  <c:pt idx="6">
                    <c:v>Tanning</c:v>
                  </c:pt>
                </c:lvl>
              </c:multiLvlStrCache>
            </c:multiLvlStrRef>
          </c:cat>
          <c:val>
            <c:numRef>
              <c:f>Sheet1!$D$2:$D$9</c:f>
              <c:numCache>
                <c:formatCode>General</c:formatCode>
                <c:ptCount val="8"/>
                <c:pt idx="0">
                  <c:v>2435.2701999999999</c:v>
                </c:pt>
                <c:pt idx="1">
                  <c:v>1250.7266999999999</c:v>
                </c:pt>
                <c:pt idx="2">
                  <c:v>5580.9314999999997</c:v>
                </c:pt>
                <c:pt idx="3">
                  <c:v>970.01520000000005</c:v>
                </c:pt>
                <c:pt idx="4">
                  <c:v>575.82299999999998</c:v>
                </c:pt>
                <c:pt idx="5">
                  <c:v>542.03200000000004</c:v>
                </c:pt>
                <c:pt idx="6">
                  <c:v>1124.7554</c:v>
                </c:pt>
                <c:pt idx="7">
                  <c:v>991.9240999999999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448C-4BCD-A13A-8A19A6A6C97B}"/>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c:v>
                  </c:pt>
                  <c:pt idx="2">
                    <c:v>Banded Pack</c:v>
                  </c:pt>
                  <c:pt idx="4">
                    <c:v>Tanning</c:v>
                  </c:pt>
                  <c:pt idx="6">
                    <c:v>After Sun</c:v>
                  </c:pt>
                </c:lvl>
              </c:multiLvlStrCache>
            </c:multiLvlStrRef>
          </c:cat>
          <c:val>
            <c:numRef>
              <c:f>Sheet1!$C$2:$C$9</c:f>
              <c:numCache>
                <c:formatCode>General</c:formatCode>
                <c:ptCount val="8"/>
                <c:pt idx="0">
                  <c:v>3574.1</c:v>
                </c:pt>
                <c:pt idx="1">
                  <c:v>289.10000000000002</c:v>
                </c:pt>
                <c:pt idx="2">
                  <c:v>62.6</c:v>
                </c:pt>
                <c:pt idx="3">
                  <c:v>0.9</c:v>
                </c:pt>
                <c:pt idx="4">
                  <c:v>46.4</c:v>
                </c:pt>
                <c:pt idx="5">
                  <c:v>4.0999999999999996</c:v>
                </c:pt>
                <c:pt idx="6">
                  <c:v>45.6</c:v>
                </c:pt>
                <c:pt idx="7">
                  <c:v>2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79.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448C-4BCD-A13A-8A19A6A6C97B}"/>
                </c:ext>
              </c:extLst>
            </c:dLbl>
            <c:dLbl>
              <c:idx val="1"/>
              <c:tx>
                <c:rich>
                  <a:bodyPr/>
                  <a:lstStyle/>
                  <a:p>
                    <a:r>
                      <a:t>1269.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448C-4BCD-A13A-8A19A6A6C97B}"/>
                </c:ext>
              </c:extLst>
            </c:dLbl>
            <c:dLbl>
              <c:idx val="2"/>
              <c:tx>
                <c:rich>
                  <a:bodyPr/>
                  <a:lstStyle/>
                  <a:p>
                    <a:r>
                      <a:t>6726.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48C-4BCD-A13A-8A19A6A6C97B}"/>
                </c:ext>
              </c:extLst>
            </c:dLbl>
            <c:dLbl>
              <c:idx val="3"/>
              <c:tx>
                <c:rich>
                  <a:bodyPr/>
                  <a:lstStyle/>
                  <a:p>
                    <a:r>
                      <a:t>1128.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48C-4BCD-A13A-8A19A6A6C97B}"/>
                </c:ext>
              </c:extLst>
            </c:dLbl>
            <c:dLbl>
              <c:idx val="4"/>
              <c:tx>
                <c:rich>
                  <a:bodyPr/>
                  <a:lstStyle/>
                  <a:p>
                    <a:r>
                      <a:t>1150.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48C-4BCD-A13A-8A19A6A6C97B}"/>
                </c:ext>
              </c:extLst>
            </c:dLbl>
            <c:dLbl>
              <c:idx val="5"/>
              <c:tx>
                <c:rich>
                  <a:bodyPr/>
                  <a:lstStyle/>
                  <a:p>
                    <a:r>
                      <a:t>1002.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48C-4BCD-A13A-8A19A6A6C97B}"/>
                </c:ext>
              </c:extLst>
            </c:dLbl>
            <c:dLbl>
              <c:idx val="6"/>
              <c:tx>
                <c:rich>
                  <a:bodyPr/>
                  <a:lstStyle/>
                  <a:p>
                    <a:r>
                      <a:t>579.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448C-4BCD-A13A-8A19A6A6C97B}"/>
                </c:ext>
              </c:extLst>
            </c:dLbl>
            <c:dLbl>
              <c:idx val="7"/>
              <c:tx>
                <c:rich>
                  <a:bodyPr/>
                  <a:lstStyle/>
                  <a:p>
                    <a:r>
                      <a:t>543.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448C-4BCD-A13A-8A19A6A6C97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c:v>
                  </c:pt>
                  <c:pt idx="2">
                    <c:v>Banded Pack</c:v>
                  </c:pt>
                  <c:pt idx="4">
                    <c:v>Tanning</c:v>
                  </c:pt>
                  <c:pt idx="6">
                    <c:v>After Sun</c:v>
                  </c:pt>
                </c:lvl>
              </c:multiLvlStrCache>
            </c:multiLvlStrRef>
          </c:cat>
          <c:val>
            <c:numRef>
              <c:f>Sheet1!$D$2:$D$9</c:f>
              <c:numCache>
                <c:formatCode>General</c:formatCode>
                <c:ptCount val="8"/>
                <c:pt idx="0">
                  <c:v>2479.5925999999999</c:v>
                </c:pt>
                <c:pt idx="1">
                  <c:v>1269.7615000000001</c:v>
                </c:pt>
                <c:pt idx="2">
                  <c:v>6726.9660999999996</c:v>
                </c:pt>
                <c:pt idx="3">
                  <c:v>1128.8734999999999</c:v>
                </c:pt>
                <c:pt idx="4">
                  <c:v>1150.0271</c:v>
                </c:pt>
                <c:pt idx="5">
                  <c:v>1002.1772</c:v>
                </c:pt>
                <c:pt idx="6">
                  <c:v>579.65430000000003</c:v>
                </c:pt>
                <c:pt idx="7">
                  <c:v>543.512100000000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anana Boat</c:v>
                  </c:pt>
                  <c:pt idx="2">
                    <c:v>Total</c:v>
                  </c:pt>
                  <c:pt idx="3">
                    <c:v>Banana Boat</c:v>
                  </c:pt>
                </c:lvl>
                <c:lvl>
                  <c:pt idx="0">
                    <c:v>Sunscreen</c:v>
                  </c:pt>
                  <c:pt idx="2">
                    <c:v>Banded Pack</c:v>
                  </c:pt>
                </c:lvl>
              </c:multiLvlStrCache>
            </c:multiLvlStrRef>
          </c:cat>
          <c:val>
            <c:numRef>
              <c:f>Sheet1!$C$2:$C$5</c:f>
              <c:numCache>
                <c:formatCode>General</c:formatCode>
                <c:ptCount val="4"/>
                <c:pt idx="0">
                  <c:v>2003.1</c:v>
                </c:pt>
                <c:pt idx="1">
                  <c:v>83.5</c:v>
                </c:pt>
                <c:pt idx="2">
                  <c:v>43.6</c:v>
                </c:pt>
                <c:pt idx="3">
                  <c:v>0.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429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5447-4F28-9484-90402E8F0107}"/>
                </c:ext>
              </c:extLst>
            </c:dLbl>
            <c:dLbl>
              <c:idx val="1"/>
              <c:tx>
                <c:rich>
                  <a:bodyPr/>
                  <a:lstStyle/>
                  <a:p>
                    <a:r>
                      <a:t>1432.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5447-4F28-9484-90402E8F0107}"/>
                </c:ext>
              </c:extLst>
            </c:dLbl>
            <c:dLbl>
              <c:idx val="2"/>
              <c:tx>
                <c:rich>
                  <a:bodyPr/>
                  <a:lstStyle/>
                  <a:p>
                    <a:r>
                      <a:t>8097.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5447-4F28-9484-90402E8F0107}"/>
                </c:ext>
              </c:extLst>
            </c:dLbl>
            <c:dLbl>
              <c:idx val="3"/>
              <c:tx>
                <c:rich>
                  <a:bodyPr/>
                  <a:lstStyle/>
                  <a:p>
                    <a:r>
                      <a:t>1132.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5447-4F28-9484-90402E8F010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anana Boat</c:v>
                  </c:pt>
                  <c:pt idx="2">
                    <c:v>Total</c:v>
                  </c:pt>
                  <c:pt idx="3">
                    <c:v>Banana Boat</c:v>
                  </c:pt>
                </c:lvl>
                <c:lvl>
                  <c:pt idx="0">
                    <c:v>Sunscreen</c:v>
                  </c:pt>
                  <c:pt idx="2">
                    <c:v>Banded Pack</c:v>
                  </c:pt>
                </c:lvl>
              </c:multiLvlStrCache>
            </c:multiLvlStrRef>
          </c:cat>
          <c:val>
            <c:numRef>
              <c:f>Sheet1!$D$2:$D$5</c:f>
              <c:numCache>
                <c:formatCode>General</c:formatCode>
                <c:ptCount val="4"/>
                <c:pt idx="0">
                  <c:v>4291.7371000000003</c:v>
                </c:pt>
                <c:pt idx="1">
                  <c:v>1432.4878000000001</c:v>
                </c:pt>
                <c:pt idx="2">
                  <c:v>8097.1406999999999</c:v>
                </c:pt>
                <c:pt idx="3">
                  <c:v>1132.752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anana Boat</c:v>
                  </c:pt>
                  <c:pt idx="2">
                    <c:v>Total</c:v>
                  </c:pt>
                  <c:pt idx="3">
                    <c:v>Banana Boat</c:v>
                  </c:pt>
                </c:lvl>
                <c:lvl>
                  <c:pt idx="0">
                    <c:v>Sunscreen</c:v>
                  </c:pt>
                  <c:pt idx="2">
                    <c:v>After Sun</c:v>
                  </c:pt>
                </c:lvl>
              </c:multiLvlStrCache>
            </c:multiLvlStrRef>
          </c:cat>
          <c:val>
            <c:numRef>
              <c:f>Sheet1!$C$2:$C$5</c:f>
              <c:numCache>
                <c:formatCode>General</c:formatCode>
                <c:ptCount val="4"/>
                <c:pt idx="0">
                  <c:v>25.1</c:v>
                </c:pt>
                <c:pt idx="1">
                  <c:v>2.1</c:v>
                </c:pt>
                <c:pt idx="2">
                  <c:v>0.4</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37.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5B14-4E65-9D0D-59B8B9D20B10}"/>
                </c:ext>
              </c:extLst>
            </c:dLbl>
            <c:dLbl>
              <c:idx val="1"/>
              <c:tx>
                <c:rich>
                  <a:bodyPr/>
                  <a:lstStyle/>
                  <a:p>
                    <a:r>
                      <a:t>1179.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5B14-4E65-9D0D-59B8B9D20B10}"/>
                </c:ext>
              </c:extLst>
            </c:dLbl>
            <c:dLbl>
              <c:idx val="2"/>
              <c:tx>
                <c:rich>
                  <a:bodyPr/>
                  <a:lstStyle/>
                  <a:p>
                    <a:r>
                      <a:t>572.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5B14-4E65-9D0D-59B8B9D20B10}"/>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5B14-4E65-9D0D-59B8B9D20B1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anana Boat</c:v>
                  </c:pt>
                  <c:pt idx="2">
                    <c:v>Total</c:v>
                  </c:pt>
                  <c:pt idx="3">
                    <c:v>Banana Boat</c:v>
                  </c:pt>
                </c:lvl>
                <c:lvl>
                  <c:pt idx="0">
                    <c:v>Sunscreen</c:v>
                  </c:pt>
                  <c:pt idx="2">
                    <c:v>After Sun</c:v>
                  </c:pt>
                </c:lvl>
              </c:multiLvlStrCache>
            </c:multiLvlStrRef>
          </c:cat>
          <c:val>
            <c:numRef>
              <c:f>Sheet1!$D$2:$D$5</c:f>
              <c:numCache>
                <c:formatCode>General</c:formatCode>
                <c:ptCount val="4"/>
                <c:pt idx="0">
                  <c:v>1337.7391</c:v>
                </c:pt>
                <c:pt idx="1">
                  <c:v>1179.2475999999999</c:v>
                </c:pt>
                <c:pt idx="2">
                  <c:v>572.21349999999995</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EBDA-4FB2-8474-50E5224CD0FE}"/>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c:v>
                  </c:pt>
                  <c:pt idx="2">
                    <c:v>Tanning</c:v>
                  </c:pt>
                  <c:pt idx="4">
                    <c:v>After Sun</c:v>
                  </c:pt>
                  <c:pt idx="6">
                    <c:v>Banded Pack</c:v>
                  </c:pt>
                </c:lvl>
              </c:multiLvlStrCache>
            </c:multiLvlStrRef>
          </c:cat>
          <c:val>
            <c:numRef>
              <c:f>Sheet1!$C$2:$C$9</c:f>
              <c:numCache>
                <c:formatCode>General</c:formatCode>
                <c:ptCount val="8"/>
                <c:pt idx="0">
                  <c:v>1567.1</c:v>
                </c:pt>
                <c:pt idx="1">
                  <c:v>205.3</c:v>
                </c:pt>
                <c:pt idx="2">
                  <c:v>32.5</c:v>
                </c:pt>
                <c:pt idx="3">
                  <c:v>2.8</c:v>
                </c:pt>
                <c:pt idx="4">
                  <c:v>25</c:v>
                </c:pt>
                <c:pt idx="5">
                  <c:v>7.4</c:v>
                </c:pt>
                <c:pt idx="6">
                  <c:v>18.899999999999999</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19.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EBDA-4FB2-8474-50E5224CD0FE}"/>
                </c:ext>
              </c:extLst>
            </c:dLbl>
            <c:dLbl>
              <c:idx val="1"/>
              <c:tx>
                <c:rich>
                  <a:bodyPr/>
                  <a:lstStyle/>
                  <a:p>
                    <a:r>
                      <a:t>1216.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EBDA-4FB2-8474-50E5224CD0FE}"/>
                </c:ext>
              </c:extLst>
            </c:dLbl>
            <c:dLbl>
              <c:idx val="2"/>
              <c:tx>
                <c:rich>
                  <a:bodyPr/>
                  <a:lstStyle/>
                  <a:p>
                    <a:r>
                      <a:t>1116.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EBDA-4FB2-8474-50E5224CD0FE}"/>
                </c:ext>
              </c:extLst>
            </c:dLbl>
            <c:dLbl>
              <c:idx val="3"/>
              <c:tx>
                <c:rich>
                  <a:bodyPr/>
                  <a:lstStyle/>
                  <a:p>
                    <a:r>
                      <a:t>93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EBDA-4FB2-8474-50E5224CD0FE}"/>
                </c:ext>
              </c:extLst>
            </c:dLbl>
            <c:dLbl>
              <c:idx val="4"/>
              <c:tx>
                <c:rich>
                  <a:bodyPr/>
                  <a:lstStyle/>
                  <a:p>
                    <a:r>
                      <a:t>577.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EBDA-4FB2-8474-50E5224CD0FE}"/>
                </c:ext>
              </c:extLst>
            </c:dLbl>
            <c:dLbl>
              <c:idx val="5"/>
              <c:tx>
                <c:rich>
                  <a:bodyPr/>
                  <a:lstStyle/>
                  <a:p>
                    <a:r>
                      <a:t>439.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EBDA-4FB2-8474-50E5224CD0FE}"/>
                </c:ext>
              </c:extLst>
            </c:dLbl>
            <c:dLbl>
              <c:idx val="6"/>
              <c:tx>
                <c:rich>
                  <a:bodyPr/>
                  <a:lstStyle/>
                  <a:p>
                    <a:r>
                      <a:t>496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EBDA-4FB2-8474-50E5224CD0FE}"/>
                </c:ext>
              </c:extLst>
            </c:dLbl>
            <c:dLbl>
              <c:idx val="7"/>
              <c:tx>
                <c:rich>
                  <a:bodyPr/>
                  <a:lstStyle/>
                  <a:p>
                    <a:r>
                      <a:t>818.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EBDA-4FB2-8474-50E5224CD0F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c:v>
                  </c:pt>
                  <c:pt idx="2">
                    <c:v>Tanning</c:v>
                  </c:pt>
                  <c:pt idx="4">
                    <c:v>After Sun</c:v>
                  </c:pt>
                  <c:pt idx="6">
                    <c:v>Banded Pack</c:v>
                  </c:pt>
                </c:lvl>
              </c:multiLvlStrCache>
            </c:multiLvlStrRef>
          </c:cat>
          <c:val>
            <c:numRef>
              <c:f>Sheet1!$D$2:$D$9</c:f>
              <c:numCache>
                <c:formatCode>General</c:formatCode>
                <c:ptCount val="8"/>
                <c:pt idx="0">
                  <c:v>1619.4178999999999</c:v>
                </c:pt>
                <c:pt idx="1">
                  <c:v>1216.7598</c:v>
                </c:pt>
                <c:pt idx="2">
                  <c:v>1116.2927</c:v>
                </c:pt>
                <c:pt idx="3">
                  <c:v>932.18669999999997</c:v>
                </c:pt>
                <c:pt idx="4">
                  <c:v>577.77239999999995</c:v>
                </c:pt>
                <c:pt idx="5">
                  <c:v>439.69450000000001</c:v>
                </c:pt>
                <c:pt idx="6">
                  <c:v>4966.2389999999996</c:v>
                </c:pt>
                <c:pt idx="7">
                  <c:v>818.452800000000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A409-4278-9787-1B203C2638D6}"/>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c:v>
                  </c:pt>
                  <c:pt idx="2">
                    <c:v>Banded Pack</c:v>
                  </c:pt>
                  <c:pt idx="4">
                    <c:v>After Sun</c:v>
                  </c:pt>
                  <c:pt idx="6">
                    <c:v>Tanning</c:v>
                  </c:pt>
                </c:lvl>
              </c:multiLvlStrCache>
            </c:multiLvlStrRef>
          </c:cat>
          <c:val>
            <c:numRef>
              <c:f>Sheet1!$C$2:$C$9</c:f>
              <c:numCache>
                <c:formatCode>General</c:formatCode>
                <c:ptCount val="8"/>
                <c:pt idx="0">
                  <c:v>3929.3</c:v>
                </c:pt>
                <c:pt idx="1">
                  <c:v>13.1</c:v>
                </c:pt>
                <c:pt idx="2">
                  <c:v>64.5</c:v>
                </c:pt>
                <c:pt idx="3">
                  <c:v>0</c:v>
                </c:pt>
                <c:pt idx="4">
                  <c:v>47.9</c:v>
                </c:pt>
                <c:pt idx="5">
                  <c:v>0</c:v>
                </c:pt>
                <c:pt idx="6">
                  <c:v>47.7</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35.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409-4278-9787-1B203C2638D6}"/>
                </c:ext>
              </c:extLst>
            </c:dLbl>
            <c:dLbl>
              <c:idx val="1"/>
              <c:tx>
                <c:rich>
                  <a:bodyPr/>
                  <a:lstStyle/>
                  <a:p>
                    <a:r>
                      <a:t>392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409-4278-9787-1B203C2638D6}"/>
                </c:ext>
              </c:extLst>
            </c:dLbl>
            <c:dLbl>
              <c:idx val="2"/>
              <c:tx>
                <c:rich>
                  <a:bodyPr/>
                  <a:lstStyle/>
                  <a:p>
                    <a:r>
                      <a:t>558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409-4278-9787-1B203C2638D6}"/>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409-4278-9787-1B203C2638D6}"/>
                </c:ext>
              </c:extLst>
            </c:dLbl>
            <c:dLbl>
              <c:idx val="4"/>
              <c:tx>
                <c:rich>
                  <a:bodyPr/>
                  <a:lstStyle/>
                  <a:p>
                    <a:r>
                      <a:t>575.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409-4278-9787-1B203C2638D6}"/>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409-4278-9787-1B203C2638D6}"/>
                </c:ext>
              </c:extLst>
            </c:dLbl>
            <c:dLbl>
              <c:idx val="6"/>
              <c:tx>
                <c:rich>
                  <a:bodyPr/>
                  <a:lstStyle/>
                  <a:p>
                    <a:r>
                      <a:t>1124.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409-4278-9787-1B203C2638D6}"/>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409-4278-9787-1B203C2638D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c:v>
                  </c:pt>
                  <c:pt idx="2">
                    <c:v>Banded Pack</c:v>
                  </c:pt>
                  <c:pt idx="4">
                    <c:v>After Sun</c:v>
                  </c:pt>
                  <c:pt idx="6">
                    <c:v>Tanning</c:v>
                  </c:pt>
                </c:lvl>
              </c:multiLvlStrCache>
            </c:multiLvlStrRef>
          </c:cat>
          <c:val>
            <c:numRef>
              <c:f>Sheet1!$D$2:$D$9</c:f>
              <c:numCache>
                <c:formatCode>General</c:formatCode>
                <c:ptCount val="8"/>
                <c:pt idx="0">
                  <c:v>2435.2701999999999</c:v>
                </c:pt>
                <c:pt idx="1">
                  <c:v>3923.2984000000001</c:v>
                </c:pt>
                <c:pt idx="2">
                  <c:v>5580.9314999999997</c:v>
                </c:pt>
                <c:pt idx="3">
                  <c:v>0</c:v>
                </c:pt>
                <c:pt idx="4">
                  <c:v>575.82299999999998</c:v>
                </c:pt>
                <c:pt idx="5">
                  <c:v>0</c:v>
                </c:pt>
                <c:pt idx="6">
                  <c:v>1124.7554</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6067-454A-BFB0-5D03036B82D6}"/>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c:v>
                  </c:pt>
                  <c:pt idx="2">
                    <c:v>Banded Pack</c:v>
                  </c:pt>
                  <c:pt idx="4">
                    <c:v>Tanning</c:v>
                  </c:pt>
                  <c:pt idx="6">
                    <c:v>After Sun</c:v>
                  </c:pt>
                </c:lvl>
              </c:multiLvlStrCache>
            </c:multiLvlStrRef>
          </c:cat>
          <c:val>
            <c:numRef>
              <c:f>Sheet1!$C$2:$C$9</c:f>
              <c:numCache>
                <c:formatCode>General</c:formatCode>
                <c:ptCount val="8"/>
                <c:pt idx="0">
                  <c:v>3574.1</c:v>
                </c:pt>
                <c:pt idx="1">
                  <c:v>13</c:v>
                </c:pt>
                <c:pt idx="2">
                  <c:v>62.6</c:v>
                </c:pt>
                <c:pt idx="3">
                  <c:v>0</c:v>
                </c:pt>
                <c:pt idx="4">
                  <c:v>46.4</c:v>
                </c:pt>
                <c:pt idx="5">
                  <c:v>0</c:v>
                </c:pt>
                <c:pt idx="6">
                  <c:v>45.6</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79.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6067-454A-BFB0-5D03036B82D6}"/>
                </c:ext>
              </c:extLst>
            </c:dLbl>
            <c:dLbl>
              <c:idx val="1"/>
              <c:tx>
                <c:rich>
                  <a:bodyPr/>
                  <a:lstStyle/>
                  <a:p>
                    <a:r>
                      <a:t>4126.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6067-454A-BFB0-5D03036B82D6}"/>
                </c:ext>
              </c:extLst>
            </c:dLbl>
            <c:dLbl>
              <c:idx val="2"/>
              <c:tx>
                <c:rich>
                  <a:bodyPr/>
                  <a:lstStyle/>
                  <a:p>
                    <a:r>
                      <a:t>6726.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067-454A-BFB0-5D03036B82D6}"/>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067-454A-BFB0-5D03036B82D6}"/>
                </c:ext>
              </c:extLst>
            </c:dLbl>
            <c:dLbl>
              <c:idx val="4"/>
              <c:tx>
                <c:rich>
                  <a:bodyPr/>
                  <a:lstStyle/>
                  <a:p>
                    <a:r>
                      <a:t>1150.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6067-454A-BFB0-5D03036B82D6}"/>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6067-454A-BFB0-5D03036B82D6}"/>
                </c:ext>
              </c:extLst>
            </c:dLbl>
            <c:dLbl>
              <c:idx val="6"/>
              <c:tx>
                <c:rich>
                  <a:bodyPr/>
                  <a:lstStyle/>
                  <a:p>
                    <a:r>
                      <a:t>579.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6067-454A-BFB0-5D03036B82D6}"/>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6067-454A-BFB0-5D03036B82D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c:v>
                  </c:pt>
                  <c:pt idx="2">
                    <c:v>Banded Pack</c:v>
                  </c:pt>
                  <c:pt idx="4">
                    <c:v>Tanning</c:v>
                  </c:pt>
                  <c:pt idx="6">
                    <c:v>After Sun</c:v>
                  </c:pt>
                </c:lvl>
              </c:multiLvlStrCache>
            </c:multiLvlStrRef>
          </c:cat>
          <c:val>
            <c:numRef>
              <c:f>Sheet1!$D$2:$D$9</c:f>
              <c:numCache>
                <c:formatCode>General</c:formatCode>
                <c:ptCount val="8"/>
                <c:pt idx="0">
                  <c:v>2479.5925999999999</c:v>
                </c:pt>
                <c:pt idx="1">
                  <c:v>4126.1409999999996</c:v>
                </c:pt>
                <c:pt idx="2">
                  <c:v>6726.9660999999996</c:v>
                </c:pt>
                <c:pt idx="3">
                  <c:v>0</c:v>
                </c:pt>
                <c:pt idx="4">
                  <c:v>1150.0271</c:v>
                </c:pt>
                <c:pt idx="5">
                  <c:v>0</c:v>
                </c:pt>
                <c:pt idx="6">
                  <c:v>579.65430000000003</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eauty Care</c:v>
                  </c:pt>
                  <c:pt idx="2">
                    <c:v>Total</c:v>
                  </c:pt>
                  <c:pt idx="3">
                    <c:v>Beauty Care</c:v>
                  </c:pt>
                </c:lvl>
                <c:lvl>
                  <c:pt idx="0">
                    <c:v>Sunscreen</c:v>
                  </c:pt>
                  <c:pt idx="2">
                    <c:v>Banded Pack</c:v>
                  </c:pt>
                </c:lvl>
              </c:multiLvlStrCache>
            </c:multiLvlStrRef>
          </c:cat>
          <c:val>
            <c:numRef>
              <c:f>Sheet1!$C$2:$C$5</c:f>
              <c:numCache>
                <c:formatCode>General</c:formatCode>
                <c:ptCount val="4"/>
                <c:pt idx="0">
                  <c:v>2003.1</c:v>
                </c:pt>
                <c:pt idx="1">
                  <c:v>0.5</c:v>
                </c:pt>
                <c:pt idx="2">
                  <c:v>43.6</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429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9F8C-4A94-9D89-C88415CE2412}"/>
                </c:ext>
              </c:extLst>
            </c:dLbl>
            <c:dLbl>
              <c:idx val="1"/>
              <c:tx>
                <c:rich>
                  <a:bodyPr/>
                  <a:lstStyle/>
                  <a:p>
                    <a:r>
                      <a:t>1152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F8C-4A94-9D89-C88415CE2412}"/>
                </c:ext>
              </c:extLst>
            </c:dLbl>
            <c:dLbl>
              <c:idx val="2"/>
              <c:tx>
                <c:rich>
                  <a:bodyPr/>
                  <a:lstStyle/>
                  <a:p>
                    <a:r>
                      <a:t>8097.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9F8C-4A94-9D89-C88415CE2412}"/>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F8C-4A94-9D89-C88415CE24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eauty Care</c:v>
                  </c:pt>
                  <c:pt idx="2">
                    <c:v>Total</c:v>
                  </c:pt>
                  <c:pt idx="3">
                    <c:v>Beauty Care</c:v>
                  </c:pt>
                </c:lvl>
                <c:lvl>
                  <c:pt idx="0">
                    <c:v>Sunscreen</c:v>
                  </c:pt>
                  <c:pt idx="2">
                    <c:v>Banded Pack</c:v>
                  </c:pt>
                </c:lvl>
              </c:multiLvlStrCache>
            </c:multiLvlStrRef>
          </c:cat>
          <c:val>
            <c:numRef>
              <c:f>Sheet1!$D$2:$D$5</c:f>
              <c:numCache>
                <c:formatCode>General</c:formatCode>
                <c:ptCount val="4"/>
                <c:pt idx="0">
                  <c:v>4291.7371000000003</c:v>
                </c:pt>
                <c:pt idx="1">
                  <c:v>11522.434800000001</c:v>
                </c:pt>
                <c:pt idx="2">
                  <c:v>8097.1406999999999</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eauty Care</c:v>
                  </c:pt>
                  <c:pt idx="2">
                    <c:v>Total</c:v>
                  </c:pt>
                  <c:pt idx="3">
                    <c:v>Beauty Care</c:v>
                  </c:pt>
                </c:lvl>
                <c:lvl>
                  <c:pt idx="0">
                    <c:v>Sunscreen</c:v>
                  </c:pt>
                  <c:pt idx="2">
                    <c:v>After Sun</c:v>
                  </c:pt>
                </c:lvl>
              </c:multiLvlStrCache>
            </c:multiLvlStrRef>
          </c:cat>
          <c:val>
            <c:numRef>
              <c:f>Sheet1!$C$2:$C$5</c:f>
              <c:numCache>
                <c:formatCode>General</c:formatCode>
                <c:ptCount val="4"/>
                <c:pt idx="0">
                  <c:v>25.1</c:v>
                </c:pt>
                <c:pt idx="1">
                  <c:v>0</c:v>
                </c:pt>
                <c:pt idx="2">
                  <c:v>0.4</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37.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D957-4721-B394-B16BB3F13970}"/>
                </c:ext>
              </c:extLst>
            </c:dLbl>
            <c:dLbl>
              <c:idx val="1"/>
              <c:tx>
                <c:rich>
                  <a:bodyPr/>
                  <a:lstStyle/>
                  <a:p>
                    <a:r>
                      <a:t>1715.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D957-4721-B394-B16BB3F13970}"/>
                </c:ext>
              </c:extLst>
            </c:dLbl>
            <c:dLbl>
              <c:idx val="2"/>
              <c:tx>
                <c:rich>
                  <a:bodyPr/>
                  <a:lstStyle/>
                  <a:p>
                    <a:r>
                      <a:t>572.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D957-4721-B394-B16BB3F13970}"/>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D957-4721-B394-B16BB3F1397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eauty Care</c:v>
                  </c:pt>
                  <c:pt idx="2">
                    <c:v>Total</c:v>
                  </c:pt>
                  <c:pt idx="3">
                    <c:v>Beauty Care</c:v>
                  </c:pt>
                </c:lvl>
                <c:lvl>
                  <c:pt idx="0">
                    <c:v>Sunscreen</c:v>
                  </c:pt>
                  <c:pt idx="2">
                    <c:v>After Sun</c:v>
                  </c:pt>
                </c:lvl>
              </c:multiLvlStrCache>
            </c:multiLvlStrRef>
          </c:cat>
          <c:val>
            <c:numRef>
              <c:f>Sheet1!$D$2:$D$5</c:f>
              <c:numCache>
                <c:formatCode>General</c:formatCode>
                <c:ptCount val="4"/>
                <c:pt idx="0">
                  <c:v>1337.7391</c:v>
                </c:pt>
                <c:pt idx="1">
                  <c:v>1715.6667</c:v>
                </c:pt>
                <c:pt idx="2">
                  <c:v>572.21349999999995</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C0D4F270-66F2-4F0A-A12F-65E9DDE985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B00DD0A-4BB1-4D2F-9942-9E274187F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FC3FA268-15EA-4376-BAFF-C6CCD4CC5A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8DCE8B31-28C7-4AAF-9397-5D074ECB5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CE3969B7-F6AB-4D1C-9FB4-A3374B740A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D53D27EB-5666-42C0-A566-DCEB9C8D6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E4BB9BCE-0DA1-4525-942C-14830641C5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A5A06787-1102-4160-A656-9A4E62A58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62.49939999999998</c:v>
                </c:pt>
                <c:pt idx="1">
                  <c:v>272.35610000000003</c:v>
                </c:pt>
              </c:numCache>
            </c:numRef>
          </c:xVal>
          <c:yVal>
            <c:numRef>
              <c:f>Sheet1!$B$2:$B$3</c:f>
              <c:numCache>
                <c:formatCode>General</c:formatCode>
                <c:ptCount val="2"/>
                <c:pt idx="0">
                  <c:v>1.004</c:v>
                </c:pt>
                <c:pt idx="1">
                  <c:v>0.88200000000000001</c:v>
                </c:pt>
              </c:numCache>
            </c:numRef>
          </c:yVal>
          <c:bubbleSize>
            <c:numRef>
              <c:f>Sheet1!$C$2:$C$3</c:f>
              <c:numCache>
                <c:formatCode>General</c:formatCode>
                <c:ptCount val="2"/>
                <c:pt idx="0">
                  <c:v>16499925</c:v>
                </c:pt>
                <c:pt idx="1">
                  <c:v>714390</c:v>
                </c:pt>
              </c:numCache>
            </c:numRef>
          </c:bubbleSize>
          <c:bubble3D val="0"/>
          <c:extLst>
            <c:ext xmlns:c15="http://schemas.microsoft.com/office/drawing/2012/chart" uri="{02D57815-91ED-43cb-92C2-25804820EDAC}">
              <c15:datalabelsRange>
                <c15:f>Sheet1!$E$2:$E$10</c15:f>
                <c15:dlblRangeCache>
                  <c:ptCount val="9"/>
                  <c:pt idx="0">
                    <c:v>Nivea</c:v>
                  </c:pt>
                  <c:pt idx="1">
                    <c:v>Banana Boat</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7"/>
          <c:min val="2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941D-42B0-99E9-04BB466B2DC3}"/>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c:v>
                  </c:pt>
                  <c:pt idx="2">
                    <c:v>Tanning</c:v>
                  </c:pt>
                  <c:pt idx="4">
                    <c:v>After Sun</c:v>
                  </c:pt>
                  <c:pt idx="6">
                    <c:v>Banded Pack</c:v>
                  </c:pt>
                </c:lvl>
              </c:multiLvlStrCache>
            </c:multiLvlStrRef>
          </c:cat>
          <c:val>
            <c:numRef>
              <c:f>Sheet1!$C$2:$C$9</c:f>
              <c:numCache>
                <c:formatCode>General</c:formatCode>
                <c:ptCount val="8"/>
                <c:pt idx="0">
                  <c:v>1567.1</c:v>
                </c:pt>
                <c:pt idx="1">
                  <c:v>12.5</c:v>
                </c:pt>
                <c:pt idx="2">
                  <c:v>32.5</c:v>
                </c:pt>
                <c:pt idx="3">
                  <c:v>0</c:v>
                </c:pt>
                <c:pt idx="4">
                  <c:v>25</c:v>
                </c:pt>
                <c:pt idx="5">
                  <c:v>0</c:v>
                </c:pt>
                <c:pt idx="6">
                  <c:v>18.899999999999999</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19.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941D-42B0-99E9-04BB466B2DC3}"/>
                </c:ext>
              </c:extLst>
            </c:dLbl>
            <c:dLbl>
              <c:idx val="1"/>
              <c:tx>
                <c:rich>
                  <a:bodyPr/>
                  <a:lstStyle/>
                  <a:p>
                    <a:r>
                      <a:t>402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41D-42B0-99E9-04BB466B2DC3}"/>
                </c:ext>
              </c:extLst>
            </c:dLbl>
            <c:dLbl>
              <c:idx val="2"/>
              <c:tx>
                <c:rich>
                  <a:bodyPr/>
                  <a:lstStyle/>
                  <a:p>
                    <a:r>
                      <a:t>1116.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41D-42B0-99E9-04BB466B2DC3}"/>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41D-42B0-99E9-04BB466B2DC3}"/>
                </c:ext>
              </c:extLst>
            </c:dLbl>
            <c:dLbl>
              <c:idx val="4"/>
              <c:tx>
                <c:rich>
                  <a:bodyPr/>
                  <a:lstStyle/>
                  <a:p>
                    <a:r>
                      <a:t>577.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941D-42B0-99E9-04BB466B2DC3}"/>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41D-42B0-99E9-04BB466B2DC3}"/>
                </c:ext>
              </c:extLst>
            </c:dLbl>
            <c:dLbl>
              <c:idx val="6"/>
              <c:tx>
                <c:rich>
                  <a:bodyPr/>
                  <a:lstStyle/>
                  <a:p>
                    <a:r>
                      <a:t>4966.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941D-42B0-99E9-04BB466B2DC3}"/>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41D-42B0-99E9-04BB466B2DC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c:v>
                  </c:pt>
                  <c:pt idx="2">
                    <c:v>Tanning</c:v>
                  </c:pt>
                  <c:pt idx="4">
                    <c:v>After Sun</c:v>
                  </c:pt>
                  <c:pt idx="6">
                    <c:v>Banded Pack</c:v>
                  </c:pt>
                </c:lvl>
              </c:multiLvlStrCache>
            </c:multiLvlStrRef>
          </c:cat>
          <c:val>
            <c:numRef>
              <c:f>Sheet1!$D$2:$D$9</c:f>
              <c:numCache>
                <c:formatCode>General</c:formatCode>
                <c:ptCount val="8"/>
                <c:pt idx="0">
                  <c:v>1619.4178999999999</c:v>
                </c:pt>
                <c:pt idx="1">
                  <c:v>4025.5318000000002</c:v>
                </c:pt>
                <c:pt idx="2">
                  <c:v>1116.2927</c:v>
                </c:pt>
                <c:pt idx="3">
                  <c:v>0</c:v>
                </c:pt>
                <c:pt idx="4">
                  <c:v>577.77239999999995</c:v>
                </c:pt>
                <c:pt idx="5">
                  <c:v>0</c:v>
                </c:pt>
                <c:pt idx="6">
                  <c:v>4966.2389999999996</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1452-4001-972D-5123EB8363B3}"/>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1452-4001-972D-5123EB8363B3}"/>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Derma Crema</c:v>
                  </c:pt>
                  <c:pt idx="2">
                    <c:v>Sunscreen Cosmetics Crema</c:v>
                  </c:pt>
                  <c:pt idx="4">
                    <c:v>Sunscreen Cosmetics Liquido</c:v>
                  </c:pt>
                  <c:pt idx="6">
                    <c:v>Sunscreen Derma Fluido</c:v>
                  </c:pt>
                  <c:pt idx="8">
                    <c:v>Sunscreen Derma Gel</c:v>
                  </c:pt>
                </c:lvl>
              </c:multiLvlStrCache>
            </c:multiLvlStrRef>
          </c:cat>
          <c:val>
            <c:numRef>
              <c:f>Sheet1!$C$2:$C$11</c:f>
              <c:numCache>
                <c:formatCode>General</c:formatCode>
                <c:ptCount val="10"/>
                <c:pt idx="0">
                  <c:v>1164.0999999999999</c:v>
                </c:pt>
                <c:pt idx="1">
                  <c:v>0</c:v>
                </c:pt>
                <c:pt idx="2">
                  <c:v>664</c:v>
                </c:pt>
                <c:pt idx="3">
                  <c:v>103.1</c:v>
                </c:pt>
                <c:pt idx="4">
                  <c:v>601.20000000000005</c:v>
                </c:pt>
                <c:pt idx="5">
                  <c:v>168.7</c:v>
                </c:pt>
                <c:pt idx="6">
                  <c:v>376.6</c:v>
                </c:pt>
                <c:pt idx="7">
                  <c:v>0</c:v>
                </c:pt>
                <c:pt idx="8">
                  <c:v>316.7</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6133.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452-4001-972D-5123EB8363B3}"/>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452-4001-972D-5123EB8363B3}"/>
                </c:ext>
              </c:extLst>
            </c:dLbl>
            <c:dLbl>
              <c:idx val="2"/>
              <c:tx>
                <c:rich>
                  <a:bodyPr/>
                  <a:lstStyle/>
                  <a:p>
                    <a:r>
                      <a:t>1350.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452-4001-972D-5123EB8363B3}"/>
                </c:ext>
              </c:extLst>
            </c:dLbl>
            <c:dLbl>
              <c:idx val="3"/>
              <c:tx>
                <c:rich>
                  <a:bodyPr/>
                  <a:lstStyle/>
                  <a:p>
                    <a:r>
                      <a:t>1156.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452-4001-972D-5123EB8363B3}"/>
                </c:ext>
              </c:extLst>
            </c:dLbl>
            <c:dLbl>
              <c:idx val="4"/>
              <c:tx>
                <c:rich>
                  <a:bodyPr/>
                  <a:lstStyle/>
                  <a:p>
                    <a:r>
                      <a:t>1409.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452-4001-972D-5123EB8363B3}"/>
                </c:ext>
              </c:extLst>
            </c:dLbl>
            <c:dLbl>
              <c:idx val="5"/>
              <c:tx>
                <c:rich>
                  <a:bodyPr/>
                  <a:lstStyle/>
                  <a:p>
                    <a:r>
                      <a:t>1264.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452-4001-972D-5123EB8363B3}"/>
                </c:ext>
              </c:extLst>
            </c:dLbl>
            <c:dLbl>
              <c:idx val="6"/>
              <c:tx>
                <c:rich>
                  <a:bodyPr/>
                  <a:lstStyle/>
                  <a:p>
                    <a:r>
                      <a:t>13033.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452-4001-972D-5123EB8363B3}"/>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452-4001-972D-5123EB8363B3}"/>
                </c:ext>
              </c:extLst>
            </c:dLbl>
            <c:dLbl>
              <c:idx val="8"/>
              <c:tx>
                <c:rich>
                  <a:bodyPr/>
                  <a:lstStyle/>
                  <a:p>
                    <a:r>
                      <a:t>5133.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452-4001-972D-5123EB8363B3}"/>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452-4001-972D-5123EB8363B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Derma Crema</c:v>
                  </c:pt>
                  <c:pt idx="2">
                    <c:v>Sunscreen Cosmetics Crema</c:v>
                  </c:pt>
                  <c:pt idx="4">
                    <c:v>Sunscreen Cosmetics Liquido</c:v>
                  </c:pt>
                  <c:pt idx="6">
                    <c:v>Sunscreen Derma Fluido</c:v>
                  </c:pt>
                  <c:pt idx="8">
                    <c:v>Sunscreen Derma Gel</c:v>
                  </c:pt>
                </c:lvl>
              </c:multiLvlStrCache>
            </c:multiLvlStrRef>
          </c:cat>
          <c:val>
            <c:numRef>
              <c:f>Sheet1!$D$2:$D$11</c:f>
              <c:numCache>
                <c:formatCode>General</c:formatCode>
                <c:ptCount val="10"/>
                <c:pt idx="0">
                  <c:v>6133.5186999999996</c:v>
                </c:pt>
                <c:pt idx="1">
                  <c:v>0</c:v>
                </c:pt>
                <c:pt idx="2">
                  <c:v>1350.7456</c:v>
                </c:pt>
                <c:pt idx="3">
                  <c:v>1156.164</c:v>
                </c:pt>
                <c:pt idx="4">
                  <c:v>1409.1302000000001</c:v>
                </c:pt>
                <c:pt idx="5">
                  <c:v>1264.6270999999999</c:v>
                </c:pt>
                <c:pt idx="6">
                  <c:v>13033.6865</c:v>
                </c:pt>
                <c:pt idx="7">
                  <c:v>0</c:v>
                </c:pt>
                <c:pt idx="8">
                  <c:v>5133.1099000000004</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2098-4738-8C97-1889E4CDC367}"/>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2098-4738-8C97-1889E4CDC367}"/>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Derma Crema</c:v>
                  </c:pt>
                  <c:pt idx="2">
                    <c:v>Sunscreen Cosmetics Crema</c:v>
                  </c:pt>
                  <c:pt idx="4">
                    <c:v>Sunscreen Cosmetics Liquido</c:v>
                  </c:pt>
                  <c:pt idx="6">
                    <c:v>Sunscreen Derma Fluido</c:v>
                  </c:pt>
                  <c:pt idx="8">
                    <c:v>Sunscreen Derma Gel</c:v>
                  </c:pt>
                </c:lvl>
              </c:multiLvlStrCache>
            </c:multiLvlStrRef>
          </c:cat>
          <c:val>
            <c:numRef>
              <c:f>Sheet1!$C$2:$C$11</c:f>
              <c:numCache>
                <c:formatCode>General</c:formatCode>
                <c:ptCount val="10"/>
                <c:pt idx="0">
                  <c:v>1029.7</c:v>
                </c:pt>
                <c:pt idx="1">
                  <c:v>0</c:v>
                </c:pt>
                <c:pt idx="2">
                  <c:v>590.6</c:v>
                </c:pt>
                <c:pt idx="3">
                  <c:v>100.2</c:v>
                </c:pt>
                <c:pt idx="4">
                  <c:v>555.1</c:v>
                </c:pt>
                <c:pt idx="5">
                  <c:v>163.30000000000001</c:v>
                </c:pt>
                <c:pt idx="6">
                  <c:v>333.5</c:v>
                </c:pt>
                <c:pt idx="7">
                  <c:v>0</c:v>
                </c:pt>
                <c:pt idx="8">
                  <c:v>291.60000000000002</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6653.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098-4738-8C97-1889E4CDC367}"/>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098-4738-8C97-1889E4CDC367}"/>
                </c:ext>
              </c:extLst>
            </c:dLbl>
            <c:dLbl>
              <c:idx val="2"/>
              <c:tx>
                <c:rich>
                  <a:bodyPr/>
                  <a:lstStyle/>
                  <a:p>
                    <a:r>
                      <a:t>1385.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098-4738-8C97-1889E4CDC367}"/>
                </c:ext>
              </c:extLst>
            </c:dLbl>
            <c:dLbl>
              <c:idx val="3"/>
              <c:tx>
                <c:rich>
                  <a:bodyPr/>
                  <a:lstStyle/>
                  <a:p>
                    <a:r>
                      <a:t>1168.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098-4738-8C97-1889E4CDC367}"/>
                </c:ext>
              </c:extLst>
            </c:dLbl>
            <c:dLbl>
              <c:idx val="4"/>
              <c:tx>
                <c:rich>
                  <a:bodyPr/>
                  <a:lstStyle/>
                  <a:p>
                    <a:r>
                      <a:t>142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098-4738-8C97-1889E4CDC367}"/>
                </c:ext>
              </c:extLst>
            </c:dLbl>
            <c:dLbl>
              <c:idx val="5"/>
              <c:tx>
                <c:rich>
                  <a:bodyPr/>
                  <a:lstStyle/>
                  <a:p>
                    <a:r>
                      <a:t>1277.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098-4738-8C97-1889E4CDC367}"/>
                </c:ext>
              </c:extLst>
            </c:dLbl>
            <c:dLbl>
              <c:idx val="6"/>
              <c:tx>
                <c:rich>
                  <a:bodyPr/>
                  <a:lstStyle/>
                  <a:p>
                    <a:r>
                      <a:t>13590.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098-4738-8C97-1889E4CDC367}"/>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098-4738-8C97-1889E4CDC367}"/>
                </c:ext>
              </c:extLst>
            </c:dLbl>
            <c:dLbl>
              <c:idx val="8"/>
              <c:tx>
                <c:rich>
                  <a:bodyPr/>
                  <a:lstStyle/>
                  <a:p>
                    <a:r>
                      <a:t>5153.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098-4738-8C97-1889E4CDC367}"/>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098-4738-8C97-1889E4CDC36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Derma Crema</c:v>
                  </c:pt>
                  <c:pt idx="2">
                    <c:v>Sunscreen Cosmetics Crema</c:v>
                  </c:pt>
                  <c:pt idx="4">
                    <c:v>Sunscreen Cosmetics Liquido</c:v>
                  </c:pt>
                  <c:pt idx="6">
                    <c:v>Sunscreen Derma Fluido</c:v>
                  </c:pt>
                  <c:pt idx="8">
                    <c:v>Sunscreen Derma Gel</c:v>
                  </c:pt>
                </c:lvl>
              </c:multiLvlStrCache>
            </c:multiLvlStrRef>
          </c:cat>
          <c:val>
            <c:numRef>
              <c:f>Sheet1!$D$2:$D$11</c:f>
              <c:numCache>
                <c:formatCode>General</c:formatCode>
                <c:ptCount val="10"/>
                <c:pt idx="0">
                  <c:v>6653.6706999999997</c:v>
                </c:pt>
                <c:pt idx="1">
                  <c:v>0</c:v>
                </c:pt>
                <c:pt idx="2">
                  <c:v>1385.6142</c:v>
                </c:pt>
                <c:pt idx="3">
                  <c:v>1168.9454000000001</c:v>
                </c:pt>
                <c:pt idx="4">
                  <c:v>1422.7560000000001</c:v>
                </c:pt>
                <c:pt idx="5">
                  <c:v>1277.6076</c:v>
                </c:pt>
                <c:pt idx="6">
                  <c:v>13590.282999999999</c:v>
                </c:pt>
                <c:pt idx="7">
                  <c:v>0</c:v>
                </c:pt>
                <c:pt idx="8">
                  <c:v>5153.4772999999996</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88BF-4FE7-AC5F-F41E8527240E}"/>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88BF-4FE7-AC5F-F41E8527240E}"/>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Derma Crema</c:v>
                  </c:pt>
                  <c:pt idx="2">
                    <c:v>Sunscreen Derma Fluido</c:v>
                  </c:pt>
                  <c:pt idx="4">
                    <c:v>Sunscreen Derma Gel</c:v>
                  </c:pt>
                  <c:pt idx="6">
                    <c:v>Sunscreen Cosmetics Liquido</c:v>
                  </c:pt>
                  <c:pt idx="8">
                    <c:v>Sunscreen Cosmetics Crema</c:v>
                  </c:pt>
                </c:lvl>
              </c:multiLvlStrCache>
            </c:multiLvlStrRef>
          </c:cat>
          <c:val>
            <c:numRef>
              <c:f>Sheet1!$C$2:$C$11</c:f>
              <c:numCache>
                <c:formatCode>General</c:formatCode>
                <c:ptCount val="10"/>
                <c:pt idx="0">
                  <c:v>767.9</c:v>
                </c:pt>
                <c:pt idx="1">
                  <c:v>0</c:v>
                </c:pt>
                <c:pt idx="2">
                  <c:v>288.60000000000002</c:v>
                </c:pt>
                <c:pt idx="3">
                  <c:v>0</c:v>
                </c:pt>
                <c:pt idx="4">
                  <c:v>253</c:v>
                </c:pt>
                <c:pt idx="5">
                  <c:v>0</c:v>
                </c:pt>
                <c:pt idx="6">
                  <c:v>168.8</c:v>
                </c:pt>
                <c:pt idx="7">
                  <c:v>40.1</c:v>
                </c:pt>
                <c:pt idx="8">
                  <c:v>148.9</c:v>
                </c:pt>
                <c:pt idx="9">
                  <c:v>27.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8438.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88BF-4FE7-AC5F-F41E8527240E}"/>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8BF-4FE7-AC5F-F41E8527240E}"/>
                </c:ext>
              </c:extLst>
            </c:dLbl>
            <c:dLbl>
              <c:idx val="2"/>
              <c:tx>
                <c:rich>
                  <a:bodyPr/>
                  <a:lstStyle/>
                  <a:p>
                    <a:r>
                      <a:t>13871.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88BF-4FE7-AC5F-F41E8527240E}"/>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8BF-4FE7-AC5F-F41E8527240E}"/>
                </c:ext>
              </c:extLst>
            </c:dLbl>
            <c:dLbl>
              <c:idx val="4"/>
              <c:tx>
                <c:rich>
                  <a:bodyPr/>
                  <a:lstStyle/>
                  <a:p>
                    <a:r>
                      <a:t>533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88BF-4FE7-AC5F-F41E8527240E}"/>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8BF-4FE7-AC5F-F41E8527240E}"/>
                </c:ext>
              </c:extLst>
            </c:dLbl>
            <c:dLbl>
              <c:idx val="6"/>
              <c:tx>
                <c:rich>
                  <a:bodyPr/>
                  <a:lstStyle/>
                  <a:p>
                    <a:r>
                      <a:t>1690.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88BF-4FE7-AC5F-F41E8527240E}"/>
                </c:ext>
              </c:extLst>
            </c:dLbl>
            <c:dLbl>
              <c:idx val="7"/>
              <c:tx>
                <c:rich>
                  <a:bodyPr/>
                  <a:lstStyle/>
                  <a:p>
                    <a:r>
                      <a:t>1337.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8BF-4FE7-AC5F-F41E8527240E}"/>
                </c:ext>
              </c:extLst>
            </c:dLbl>
            <c:dLbl>
              <c:idx val="8"/>
              <c:tx>
                <c:rich>
                  <a:bodyPr/>
                  <a:lstStyle/>
                  <a:p>
                    <a:r>
                      <a:t>1689.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88BF-4FE7-AC5F-F41E8527240E}"/>
                </c:ext>
              </c:extLst>
            </c:dLbl>
            <c:dLbl>
              <c:idx val="9"/>
              <c:tx>
                <c:rich>
                  <a:bodyPr/>
                  <a:lstStyle/>
                  <a:p>
                    <a:r>
                      <a:t>1198.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8BF-4FE7-AC5F-F41E8527240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Derma Crema</c:v>
                  </c:pt>
                  <c:pt idx="2">
                    <c:v>Sunscreen Derma Fluido</c:v>
                  </c:pt>
                  <c:pt idx="4">
                    <c:v>Sunscreen Derma Gel</c:v>
                  </c:pt>
                  <c:pt idx="6">
                    <c:v>Sunscreen Cosmetics Liquido</c:v>
                  </c:pt>
                  <c:pt idx="8">
                    <c:v>Sunscreen Cosmetics Crema</c:v>
                  </c:pt>
                </c:lvl>
              </c:multiLvlStrCache>
            </c:multiLvlStrRef>
          </c:cat>
          <c:val>
            <c:numRef>
              <c:f>Sheet1!$D$2:$D$11</c:f>
              <c:numCache>
                <c:formatCode>General</c:formatCode>
                <c:ptCount val="10"/>
                <c:pt idx="0">
                  <c:v>8438.1460999999999</c:v>
                </c:pt>
                <c:pt idx="1">
                  <c:v>0</c:v>
                </c:pt>
                <c:pt idx="2">
                  <c:v>13871.3526</c:v>
                </c:pt>
                <c:pt idx="3">
                  <c:v>0</c:v>
                </c:pt>
                <c:pt idx="4">
                  <c:v>5330.2659999999996</c:v>
                </c:pt>
                <c:pt idx="5">
                  <c:v>0</c:v>
                </c:pt>
                <c:pt idx="6">
                  <c:v>1690.0078000000001</c:v>
                </c:pt>
                <c:pt idx="7">
                  <c:v>1337.3267000000001</c:v>
                </c:pt>
                <c:pt idx="8">
                  <c:v>1689.6541999999999</c:v>
                </c:pt>
                <c:pt idx="9">
                  <c:v>1198.266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4E4F-411D-A31E-7988CDC3AF7E}"/>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4E4F-411D-A31E-7988CDC3AF7E}"/>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 Crema</c:v>
                  </c:pt>
                  <c:pt idx="2">
                    <c:v>Sunscreen Derma Crema</c:v>
                  </c:pt>
                  <c:pt idx="4">
                    <c:v>Sunscreen Cosmetics Liquido</c:v>
                  </c:pt>
                  <c:pt idx="6">
                    <c:v>Sunscreen Cosmetics Gel</c:v>
                  </c:pt>
                  <c:pt idx="8">
                    <c:v>Sunscreen Sport Crema</c:v>
                  </c:pt>
                </c:lvl>
              </c:multiLvlStrCache>
            </c:multiLvlStrRef>
          </c:cat>
          <c:val>
            <c:numRef>
              <c:f>Sheet1!$C$2:$C$11</c:f>
              <c:numCache>
                <c:formatCode>General</c:formatCode>
                <c:ptCount val="10"/>
                <c:pt idx="0">
                  <c:v>10</c:v>
                </c:pt>
                <c:pt idx="1">
                  <c:v>0.4</c:v>
                </c:pt>
                <c:pt idx="2">
                  <c:v>5.5</c:v>
                </c:pt>
                <c:pt idx="3">
                  <c:v>0</c:v>
                </c:pt>
                <c:pt idx="4">
                  <c:v>4.9000000000000004</c:v>
                </c:pt>
                <c:pt idx="5">
                  <c:v>0.3</c:v>
                </c:pt>
                <c:pt idx="6">
                  <c:v>1.2</c:v>
                </c:pt>
                <c:pt idx="7">
                  <c:v>0</c:v>
                </c:pt>
                <c:pt idx="8">
                  <c:v>0.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24.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E4F-411D-A31E-7988CDC3AF7E}"/>
                </c:ext>
              </c:extLst>
            </c:dLbl>
            <c:dLbl>
              <c:idx val="1"/>
              <c:tx>
                <c:rich>
                  <a:bodyPr/>
                  <a:lstStyle/>
                  <a:p>
                    <a:r>
                      <a:t>984.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E4F-411D-A31E-7988CDC3AF7E}"/>
                </c:ext>
              </c:extLst>
            </c:dLbl>
            <c:dLbl>
              <c:idx val="2"/>
              <c:tx>
                <c:rich>
                  <a:bodyPr/>
                  <a:lstStyle/>
                  <a:p>
                    <a:r>
                      <a:t>2094.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E4F-411D-A31E-7988CDC3AF7E}"/>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E4F-411D-A31E-7988CDC3AF7E}"/>
                </c:ext>
              </c:extLst>
            </c:dLbl>
            <c:dLbl>
              <c:idx val="4"/>
              <c:tx>
                <c:rich>
                  <a:bodyPr/>
                  <a:lstStyle/>
                  <a:p>
                    <a:r>
                      <a:t>1379.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4E4F-411D-A31E-7988CDC3AF7E}"/>
                </c:ext>
              </c:extLst>
            </c:dLbl>
            <c:dLbl>
              <c:idx val="5"/>
              <c:tx>
                <c:rich>
                  <a:bodyPr/>
                  <a:lstStyle/>
                  <a:p>
                    <a:r>
                      <a:t>1259.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4E4F-411D-A31E-7988CDC3AF7E}"/>
                </c:ext>
              </c:extLst>
            </c:dLbl>
            <c:dLbl>
              <c:idx val="6"/>
              <c:tx>
                <c:rich>
                  <a:bodyPr/>
                  <a:lstStyle/>
                  <a:p>
                    <a:r>
                      <a:t>1828.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4E4F-411D-A31E-7988CDC3AF7E}"/>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4E4F-411D-A31E-7988CDC3AF7E}"/>
                </c:ext>
              </c:extLst>
            </c:dLbl>
            <c:dLbl>
              <c:idx val="8"/>
              <c:tx>
                <c:rich>
                  <a:bodyPr/>
                  <a:lstStyle/>
                  <a:p>
                    <a:r>
                      <a:t>68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4E4F-411D-A31E-7988CDC3AF7E}"/>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4E4F-411D-A31E-7988CDC3AF7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 Crema</c:v>
                  </c:pt>
                  <c:pt idx="2">
                    <c:v>Sunscreen Derma Crema</c:v>
                  </c:pt>
                  <c:pt idx="4">
                    <c:v>Sunscreen Cosmetics Liquido</c:v>
                  </c:pt>
                  <c:pt idx="6">
                    <c:v>Sunscreen Cosmetics Gel</c:v>
                  </c:pt>
                  <c:pt idx="8">
                    <c:v>Sunscreen Sport Crema</c:v>
                  </c:pt>
                </c:lvl>
              </c:multiLvlStrCache>
            </c:multiLvlStrRef>
          </c:cat>
          <c:val>
            <c:numRef>
              <c:f>Sheet1!$D$2:$D$11</c:f>
              <c:numCache>
                <c:formatCode>General</c:formatCode>
                <c:ptCount val="10"/>
                <c:pt idx="0">
                  <c:v>1124.7882999999999</c:v>
                </c:pt>
                <c:pt idx="1">
                  <c:v>984.64499999999998</c:v>
                </c:pt>
                <c:pt idx="2">
                  <c:v>2094.5299</c:v>
                </c:pt>
                <c:pt idx="3">
                  <c:v>0</c:v>
                </c:pt>
                <c:pt idx="4">
                  <c:v>1379.1510000000001</c:v>
                </c:pt>
                <c:pt idx="5">
                  <c:v>1259.7398000000001</c:v>
                </c:pt>
                <c:pt idx="6">
                  <c:v>1828.0789</c:v>
                </c:pt>
                <c:pt idx="7">
                  <c:v>0</c:v>
                </c:pt>
                <c:pt idx="8">
                  <c:v>686.49839999999995</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DE74-4E93-919D-AEC09F3F67A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DE74-4E93-919D-AEC09F3F67A0}"/>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 Crema</c:v>
                  </c:pt>
                  <c:pt idx="2">
                    <c:v>Sunscreen Cosmetics Liquido</c:v>
                  </c:pt>
                  <c:pt idx="4">
                    <c:v>Sunscreen Derma Crema</c:v>
                  </c:pt>
                  <c:pt idx="6">
                    <c:v>Sunscreen Cosmetics Gel</c:v>
                  </c:pt>
                  <c:pt idx="8">
                    <c:v>Sunscreen Sport Liquido</c:v>
                  </c:pt>
                </c:lvl>
              </c:multiLvlStrCache>
            </c:multiLvlStrRef>
          </c:cat>
          <c:val>
            <c:numRef>
              <c:f>Sheet1!$C$2:$C$11</c:f>
              <c:numCache>
                <c:formatCode>General</c:formatCode>
                <c:ptCount val="10"/>
                <c:pt idx="0">
                  <c:v>440.2</c:v>
                </c:pt>
                <c:pt idx="1">
                  <c:v>72.7</c:v>
                </c:pt>
                <c:pt idx="2">
                  <c:v>384.5</c:v>
                </c:pt>
                <c:pt idx="3">
                  <c:v>122.8</c:v>
                </c:pt>
                <c:pt idx="4">
                  <c:v>261.7</c:v>
                </c:pt>
                <c:pt idx="5">
                  <c:v>0</c:v>
                </c:pt>
                <c:pt idx="6">
                  <c:v>91.2</c:v>
                </c:pt>
                <c:pt idx="7">
                  <c:v>0</c:v>
                </c:pt>
                <c:pt idx="8">
                  <c:v>72.3</c:v>
                </c:pt>
                <c:pt idx="9">
                  <c:v>5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08.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DE74-4E93-919D-AEC09F3F67A0}"/>
                </c:ext>
              </c:extLst>
            </c:dLbl>
            <c:dLbl>
              <c:idx val="1"/>
              <c:tx>
                <c:rich>
                  <a:bodyPr/>
                  <a:lstStyle/>
                  <a:p>
                    <a:r>
                      <a:t>1159.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DE74-4E93-919D-AEC09F3F67A0}"/>
                </c:ext>
              </c:extLst>
            </c:dLbl>
            <c:dLbl>
              <c:idx val="2"/>
              <c:tx>
                <c:rich>
                  <a:bodyPr/>
                  <a:lstStyle/>
                  <a:p>
                    <a:r>
                      <a:t>1333.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DE74-4E93-919D-AEC09F3F67A0}"/>
                </c:ext>
              </c:extLst>
            </c:dLbl>
            <c:dLbl>
              <c:idx val="3"/>
              <c:tx>
                <c:rich>
                  <a:bodyPr/>
                  <a:lstStyle/>
                  <a:p>
                    <a:r>
                      <a:t>1262.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DE74-4E93-919D-AEC09F3F67A0}"/>
                </c:ext>
              </c:extLst>
            </c:dLbl>
            <c:dLbl>
              <c:idx val="4"/>
              <c:tx>
                <c:rich>
                  <a:bodyPr/>
                  <a:lstStyle/>
                  <a:p>
                    <a:r>
                      <a:t>4196.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DE74-4E93-919D-AEC09F3F67A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DE74-4E93-919D-AEC09F3F67A0}"/>
                </c:ext>
              </c:extLst>
            </c:dLbl>
            <c:dLbl>
              <c:idx val="6"/>
              <c:tx>
                <c:rich>
                  <a:bodyPr/>
                  <a:lstStyle/>
                  <a:p>
                    <a:r>
                      <a:t>139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DE74-4E93-919D-AEC09F3F67A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DE74-4E93-919D-AEC09F3F67A0}"/>
                </c:ext>
              </c:extLst>
            </c:dLbl>
            <c:dLbl>
              <c:idx val="8"/>
              <c:tx>
                <c:rich>
                  <a:bodyPr/>
                  <a:lstStyle/>
                  <a:p>
                    <a:r>
                      <a:t>1196.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DE74-4E93-919D-AEC09F3F67A0}"/>
                </c:ext>
              </c:extLst>
            </c:dLbl>
            <c:dLbl>
              <c:idx val="9"/>
              <c:tx>
                <c:rich>
                  <a:bodyPr/>
                  <a:lstStyle/>
                  <a:p>
                    <a:r>
                      <a:t>1169.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DE74-4E93-919D-AEC09F3F67A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 Crema</c:v>
                  </c:pt>
                  <c:pt idx="2">
                    <c:v>Sunscreen Cosmetics Liquido</c:v>
                  </c:pt>
                  <c:pt idx="4">
                    <c:v>Sunscreen Derma Crema</c:v>
                  </c:pt>
                  <c:pt idx="6">
                    <c:v>Sunscreen Cosmetics Gel</c:v>
                  </c:pt>
                  <c:pt idx="8">
                    <c:v>Sunscreen Sport Liquido</c:v>
                  </c:pt>
                </c:lvl>
              </c:multiLvlStrCache>
            </c:multiLvlStrRef>
          </c:cat>
          <c:val>
            <c:numRef>
              <c:f>Sheet1!$D$2:$D$11</c:f>
              <c:numCache>
                <c:formatCode>General</c:formatCode>
                <c:ptCount val="10"/>
                <c:pt idx="0">
                  <c:v>1308.6448</c:v>
                </c:pt>
                <c:pt idx="1">
                  <c:v>1159.9918</c:v>
                </c:pt>
                <c:pt idx="2">
                  <c:v>1333.1419000000001</c:v>
                </c:pt>
                <c:pt idx="3">
                  <c:v>1262.1690000000001</c:v>
                </c:pt>
                <c:pt idx="4">
                  <c:v>4196.2502999999997</c:v>
                </c:pt>
                <c:pt idx="5">
                  <c:v>0</c:v>
                </c:pt>
                <c:pt idx="6">
                  <c:v>1392.4169999999999</c:v>
                </c:pt>
                <c:pt idx="7">
                  <c:v>0</c:v>
                </c:pt>
                <c:pt idx="8">
                  <c:v>1196.9727</c:v>
                </c:pt>
                <c:pt idx="9">
                  <c:v>1169.385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6E7B-4D15-9DDF-F7E37CA30648}"/>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6E7B-4D15-9DDF-F7E37CA30648}"/>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Derma Crema</c:v>
                  </c:pt>
                  <c:pt idx="2">
                    <c:v>Sunscreen Cosmetics Crema</c:v>
                  </c:pt>
                  <c:pt idx="4">
                    <c:v>Sunscreen Cosmetics Liquido</c:v>
                  </c:pt>
                  <c:pt idx="6">
                    <c:v>Sunscreen Derma Fluido</c:v>
                  </c:pt>
                  <c:pt idx="8">
                    <c:v>Sunscreen Derma Gel</c:v>
                  </c:pt>
                </c:lvl>
              </c:multiLvlStrCache>
            </c:multiLvlStrRef>
          </c:cat>
          <c:val>
            <c:numRef>
              <c:f>Sheet1!$C$2:$C$11</c:f>
              <c:numCache>
                <c:formatCode>General</c:formatCode>
                <c:ptCount val="10"/>
                <c:pt idx="0">
                  <c:v>1164.0999999999999</c:v>
                </c:pt>
                <c:pt idx="1">
                  <c:v>0</c:v>
                </c:pt>
                <c:pt idx="2">
                  <c:v>664</c:v>
                </c:pt>
                <c:pt idx="3">
                  <c:v>42.3</c:v>
                </c:pt>
                <c:pt idx="4">
                  <c:v>601.20000000000005</c:v>
                </c:pt>
                <c:pt idx="5">
                  <c:v>73.099999999999994</c:v>
                </c:pt>
                <c:pt idx="6">
                  <c:v>376.6</c:v>
                </c:pt>
                <c:pt idx="7">
                  <c:v>0</c:v>
                </c:pt>
                <c:pt idx="8">
                  <c:v>316.7</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6133.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E7B-4D15-9DDF-F7E37CA30648}"/>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E7B-4D15-9DDF-F7E37CA30648}"/>
                </c:ext>
              </c:extLst>
            </c:dLbl>
            <c:dLbl>
              <c:idx val="2"/>
              <c:tx>
                <c:rich>
                  <a:bodyPr/>
                  <a:lstStyle/>
                  <a:p>
                    <a:r>
                      <a:t>1350.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6E7B-4D15-9DDF-F7E37CA30648}"/>
                </c:ext>
              </c:extLst>
            </c:dLbl>
            <c:dLbl>
              <c:idx val="3"/>
              <c:tx>
                <c:rich>
                  <a:bodyPr/>
                  <a:lstStyle/>
                  <a:p>
                    <a:r>
                      <a:t>107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6E7B-4D15-9DDF-F7E37CA30648}"/>
                </c:ext>
              </c:extLst>
            </c:dLbl>
            <c:dLbl>
              <c:idx val="4"/>
              <c:tx>
                <c:rich>
                  <a:bodyPr/>
                  <a:lstStyle/>
                  <a:p>
                    <a:r>
                      <a:t>1409.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6E7B-4D15-9DDF-F7E37CA30648}"/>
                </c:ext>
              </c:extLst>
            </c:dLbl>
            <c:dLbl>
              <c:idx val="5"/>
              <c:tx>
                <c:rich>
                  <a:bodyPr/>
                  <a:lstStyle/>
                  <a:p>
                    <a:r>
                      <a:t>1262.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6E7B-4D15-9DDF-F7E37CA30648}"/>
                </c:ext>
              </c:extLst>
            </c:dLbl>
            <c:dLbl>
              <c:idx val="6"/>
              <c:tx>
                <c:rich>
                  <a:bodyPr/>
                  <a:lstStyle/>
                  <a:p>
                    <a:r>
                      <a:t>13033.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6E7B-4D15-9DDF-F7E37CA30648}"/>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6E7B-4D15-9DDF-F7E37CA30648}"/>
                </c:ext>
              </c:extLst>
            </c:dLbl>
            <c:dLbl>
              <c:idx val="8"/>
              <c:tx>
                <c:rich>
                  <a:bodyPr/>
                  <a:lstStyle/>
                  <a:p>
                    <a:r>
                      <a:t>5133.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6E7B-4D15-9DDF-F7E37CA30648}"/>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6E7B-4D15-9DDF-F7E37CA3064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Derma Crema</c:v>
                  </c:pt>
                  <c:pt idx="2">
                    <c:v>Sunscreen Cosmetics Crema</c:v>
                  </c:pt>
                  <c:pt idx="4">
                    <c:v>Sunscreen Cosmetics Liquido</c:v>
                  </c:pt>
                  <c:pt idx="6">
                    <c:v>Sunscreen Derma Fluido</c:v>
                  </c:pt>
                  <c:pt idx="8">
                    <c:v>Sunscreen Derma Gel</c:v>
                  </c:pt>
                </c:lvl>
              </c:multiLvlStrCache>
            </c:multiLvlStrRef>
          </c:cat>
          <c:val>
            <c:numRef>
              <c:f>Sheet1!$D$2:$D$11</c:f>
              <c:numCache>
                <c:formatCode>General</c:formatCode>
                <c:ptCount val="10"/>
                <c:pt idx="0">
                  <c:v>6133.5186999999996</c:v>
                </c:pt>
                <c:pt idx="1">
                  <c:v>0</c:v>
                </c:pt>
                <c:pt idx="2">
                  <c:v>1350.7456</c:v>
                </c:pt>
                <c:pt idx="3">
                  <c:v>1070.5005000000001</c:v>
                </c:pt>
                <c:pt idx="4">
                  <c:v>1409.1302000000001</c:v>
                </c:pt>
                <c:pt idx="5">
                  <c:v>1262.4119000000001</c:v>
                </c:pt>
                <c:pt idx="6">
                  <c:v>13033.6865</c:v>
                </c:pt>
                <c:pt idx="7">
                  <c:v>0</c:v>
                </c:pt>
                <c:pt idx="8">
                  <c:v>5133.1099000000004</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F271-415E-9529-79ED3082B0EF}"/>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F271-415E-9529-79ED3082B0EF}"/>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Derma Crema</c:v>
                  </c:pt>
                  <c:pt idx="2">
                    <c:v>Sunscreen Cosmetics Crema</c:v>
                  </c:pt>
                  <c:pt idx="4">
                    <c:v>Sunscreen Cosmetics Liquido</c:v>
                  </c:pt>
                  <c:pt idx="6">
                    <c:v>Sunscreen Derma Fluido</c:v>
                  </c:pt>
                  <c:pt idx="8">
                    <c:v>Sunscreen Derma Gel</c:v>
                  </c:pt>
                </c:lvl>
              </c:multiLvlStrCache>
            </c:multiLvlStrRef>
          </c:cat>
          <c:val>
            <c:numRef>
              <c:f>Sheet1!$C$2:$C$11</c:f>
              <c:numCache>
                <c:formatCode>General</c:formatCode>
                <c:ptCount val="10"/>
                <c:pt idx="0">
                  <c:v>1029.7</c:v>
                </c:pt>
                <c:pt idx="1">
                  <c:v>0</c:v>
                </c:pt>
                <c:pt idx="2">
                  <c:v>590.6</c:v>
                </c:pt>
                <c:pt idx="3">
                  <c:v>39.299999999999997</c:v>
                </c:pt>
                <c:pt idx="4">
                  <c:v>555.1</c:v>
                </c:pt>
                <c:pt idx="5">
                  <c:v>69.7</c:v>
                </c:pt>
                <c:pt idx="6">
                  <c:v>333.5</c:v>
                </c:pt>
                <c:pt idx="7">
                  <c:v>0</c:v>
                </c:pt>
                <c:pt idx="8">
                  <c:v>291.60000000000002</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6653.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F271-415E-9529-79ED3082B0EF}"/>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F271-415E-9529-79ED3082B0EF}"/>
                </c:ext>
              </c:extLst>
            </c:dLbl>
            <c:dLbl>
              <c:idx val="2"/>
              <c:tx>
                <c:rich>
                  <a:bodyPr/>
                  <a:lstStyle/>
                  <a:p>
                    <a:r>
                      <a:t>1385.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F271-415E-9529-79ED3082B0EF}"/>
                </c:ext>
              </c:extLst>
            </c:dLbl>
            <c:dLbl>
              <c:idx val="3"/>
              <c:tx>
                <c:rich>
                  <a:bodyPr/>
                  <a:lstStyle/>
                  <a:p>
                    <a:r>
                      <a:t>1087.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F271-415E-9529-79ED3082B0EF}"/>
                </c:ext>
              </c:extLst>
            </c:dLbl>
            <c:dLbl>
              <c:idx val="4"/>
              <c:tx>
                <c:rich>
                  <a:bodyPr/>
                  <a:lstStyle/>
                  <a:p>
                    <a:r>
                      <a:t>142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F271-415E-9529-79ED3082B0EF}"/>
                </c:ext>
              </c:extLst>
            </c:dLbl>
            <c:dLbl>
              <c:idx val="5"/>
              <c:tx>
                <c:rich>
                  <a:bodyPr/>
                  <a:lstStyle/>
                  <a:p>
                    <a:r>
                      <a:t>1286.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F271-415E-9529-79ED3082B0EF}"/>
                </c:ext>
              </c:extLst>
            </c:dLbl>
            <c:dLbl>
              <c:idx val="6"/>
              <c:tx>
                <c:rich>
                  <a:bodyPr/>
                  <a:lstStyle/>
                  <a:p>
                    <a:r>
                      <a:t>13590.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F271-415E-9529-79ED3082B0EF}"/>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F271-415E-9529-79ED3082B0EF}"/>
                </c:ext>
              </c:extLst>
            </c:dLbl>
            <c:dLbl>
              <c:idx val="8"/>
              <c:tx>
                <c:rich>
                  <a:bodyPr/>
                  <a:lstStyle/>
                  <a:p>
                    <a:r>
                      <a:t>5153.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F271-415E-9529-79ED3082B0EF}"/>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F271-415E-9529-79ED3082B0E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Derma Crema</c:v>
                  </c:pt>
                  <c:pt idx="2">
                    <c:v>Sunscreen Cosmetics Crema</c:v>
                  </c:pt>
                  <c:pt idx="4">
                    <c:v>Sunscreen Cosmetics Liquido</c:v>
                  </c:pt>
                  <c:pt idx="6">
                    <c:v>Sunscreen Derma Fluido</c:v>
                  </c:pt>
                  <c:pt idx="8">
                    <c:v>Sunscreen Derma Gel</c:v>
                  </c:pt>
                </c:lvl>
              </c:multiLvlStrCache>
            </c:multiLvlStrRef>
          </c:cat>
          <c:val>
            <c:numRef>
              <c:f>Sheet1!$D$2:$D$11</c:f>
              <c:numCache>
                <c:formatCode>General</c:formatCode>
                <c:ptCount val="10"/>
                <c:pt idx="0">
                  <c:v>6653.6706999999997</c:v>
                </c:pt>
                <c:pt idx="1">
                  <c:v>0</c:v>
                </c:pt>
                <c:pt idx="2">
                  <c:v>1385.6142</c:v>
                </c:pt>
                <c:pt idx="3">
                  <c:v>1087.7548999999999</c:v>
                </c:pt>
                <c:pt idx="4">
                  <c:v>1422.7560000000001</c:v>
                </c:pt>
                <c:pt idx="5">
                  <c:v>1286.9245000000001</c:v>
                </c:pt>
                <c:pt idx="6">
                  <c:v>13590.282999999999</c:v>
                </c:pt>
                <c:pt idx="7">
                  <c:v>0</c:v>
                </c:pt>
                <c:pt idx="8">
                  <c:v>5153.4772999999996</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6EFB-4F52-BB63-F9FCB4DDFE8F}"/>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6EFB-4F52-BB63-F9FCB4DDFE8F}"/>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Derma Crema</c:v>
                  </c:pt>
                  <c:pt idx="2">
                    <c:v>Sunscreen Derma Fluido</c:v>
                  </c:pt>
                  <c:pt idx="4">
                    <c:v>Sunscreen Derma Gel</c:v>
                  </c:pt>
                  <c:pt idx="6">
                    <c:v>Sunscreen Cosmetics Liquido</c:v>
                  </c:pt>
                  <c:pt idx="8">
                    <c:v>Sunscreen Cosmetics Crema</c:v>
                  </c:pt>
                </c:lvl>
              </c:multiLvlStrCache>
            </c:multiLvlStrRef>
          </c:cat>
          <c:val>
            <c:numRef>
              <c:f>Sheet1!$C$2:$C$11</c:f>
              <c:numCache>
                <c:formatCode>General</c:formatCode>
                <c:ptCount val="10"/>
                <c:pt idx="0">
                  <c:v>767.9</c:v>
                </c:pt>
                <c:pt idx="1">
                  <c:v>0</c:v>
                </c:pt>
                <c:pt idx="2">
                  <c:v>288.60000000000002</c:v>
                </c:pt>
                <c:pt idx="3">
                  <c:v>0</c:v>
                </c:pt>
                <c:pt idx="4">
                  <c:v>253</c:v>
                </c:pt>
                <c:pt idx="5">
                  <c:v>0</c:v>
                </c:pt>
                <c:pt idx="6">
                  <c:v>168.8</c:v>
                </c:pt>
                <c:pt idx="7">
                  <c:v>26.6</c:v>
                </c:pt>
                <c:pt idx="8">
                  <c:v>148.9</c:v>
                </c:pt>
                <c:pt idx="9">
                  <c:v>7.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8438.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EFB-4F52-BB63-F9FCB4DDFE8F}"/>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EFB-4F52-BB63-F9FCB4DDFE8F}"/>
                </c:ext>
              </c:extLst>
            </c:dLbl>
            <c:dLbl>
              <c:idx val="2"/>
              <c:tx>
                <c:rich>
                  <a:bodyPr/>
                  <a:lstStyle/>
                  <a:p>
                    <a:r>
                      <a:t>13871.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6EFB-4F52-BB63-F9FCB4DDFE8F}"/>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6EFB-4F52-BB63-F9FCB4DDFE8F}"/>
                </c:ext>
              </c:extLst>
            </c:dLbl>
            <c:dLbl>
              <c:idx val="4"/>
              <c:tx>
                <c:rich>
                  <a:bodyPr/>
                  <a:lstStyle/>
                  <a:p>
                    <a:r>
                      <a:t>533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6EFB-4F52-BB63-F9FCB4DDFE8F}"/>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6EFB-4F52-BB63-F9FCB4DDFE8F}"/>
                </c:ext>
              </c:extLst>
            </c:dLbl>
            <c:dLbl>
              <c:idx val="6"/>
              <c:tx>
                <c:rich>
                  <a:bodyPr/>
                  <a:lstStyle/>
                  <a:p>
                    <a:r>
                      <a:t>1690.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6EFB-4F52-BB63-F9FCB4DDFE8F}"/>
                </c:ext>
              </c:extLst>
            </c:dLbl>
            <c:dLbl>
              <c:idx val="7"/>
              <c:tx>
                <c:rich>
                  <a:bodyPr/>
                  <a:lstStyle/>
                  <a:p>
                    <a:r>
                      <a:t>137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6EFB-4F52-BB63-F9FCB4DDFE8F}"/>
                </c:ext>
              </c:extLst>
            </c:dLbl>
            <c:dLbl>
              <c:idx val="8"/>
              <c:tx>
                <c:rich>
                  <a:bodyPr/>
                  <a:lstStyle/>
                  <a:p>
                    <a:r>
                      <a:t>1689.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6EFB-4F52-BB63-F9FCB4DDFE8F}"/>
                </c:ext>
              </c:extLst>
            </c:dLbl>
            <c:dLbl>
              <c:idx val="9"/>
              <c:tx>
                <c:rich>
                  <a:bodyPr/>
                  <a:lstStyle/>
                  <a:p>
                    <a:r>
                      <a:t>1343.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6EFB-4F52-BB63-F9FCB4DDFE8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Derma Crema</c:v>
                  </c:pt>
                  <c:pt idx="2">
                    <c:v>Sunscreen Derma Fluido</c:v>
                  </c:pt>
                  <c:pt idx="4">
                    <c:v>Sunscreen Derma Gel</c:v>
                  </c:pt>
                  <c:pt idx="6">
                    <c:v>Sunscreen Cosmetics Liquido</c:v>
                  </c:pt>
                  <c:pt idx="8">
                    <c:v>Sunscreen Cosmetics Crema</c:v>
                  </c:pt>
                </c:lvl>
              </c:multiLvlStrCache>
            </c:multiLvlStrRef>
          </c:cat>
          <c:val>
            <c:numRef>
              <c:f>Sheet1!$D$2:$D$11</c:f>
              <c:numCache>
                <c:formatCode>General</c:formatCode>
                <c:ptCount val="10"/>
                <c:pt idx="0">
                  <c:v>8438.1460999999999</c:v>
                </c:pt>
                <c:pt idx="1">
                  <c:v>0</c:v>
                </c:pt>
                <c:pt idx="2">
                  <c:v>13871.3526</c:v>
                </c:pt>
                <c:pt idx="3">
                  <c:v>0</c:v>
                </c:pt>
                <c:pt idx="4">
                  <c:v>5330.2659999999996</c:v>
                </c:pt>
                <c:pt idx="5">
                  <c:v>0</c:v>
                </c:pt>
                <c:pt idx="6">
                  <c:v>1690.0078000000001</c:v>
                </c:pt>
                <c:pt idx="7">
                  <c:v>1379.0904</c:v>
                </c:pt>
                <c:pt idx="8">
                  <c:v>1689.6541999999999</c:v>
                </c:pt>
                <c:pt idx="9">
                  <c:v>1343.007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247A-42D8-8FD6-5F459C883117}"/>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247A-42D8-8FD6-5F459C883117}"/>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 Crema</c:v>
                  </c:pt>
                  <c:pt idx="2">
                    <c:v>Sunscreen Derma Crema</c:v>
                  </c:pt>
                  <c:pt idx="4">
                    <c:v>Sunscreen Cosmetics Liquido</c:v>
                  </c:pt>
                  <c:pt idx="6">
                    <c:v>Sunscreen Cosmetics Gel</c:v>
                  </c:pt>
                  <c:pt idx="8">
                    <c:v>Sunscreen Sport Crema</c:v>
                  </c:pt>
                </c:lvl>
              </c:multiLvlStrCache>
            </c:multiLvlStrRef>
          </c:cat>
          <c:val>
            <c:numRef>
              <c:f>Sheet1!$C$2:$C$11</c:f>
              <c:numCache>
                <c:formatCode>General</c:formatCode>
                <c:ptCount val="10"/>
                <c:pt idx="0">
                  <c:v>10</c:v>
                </c:pt>
                <c:pt idx="1">
                  <c:v>1</c:v>
                </c:pt>
                <c:pt idx="2">
                  <c:v>5.5</c:v>
                </c:pt>
                <c:pt idx="3">
                  <c:v>0</c:v>
                </c:pt>
                <c:pt idx="4">
                  <c:v>4.9000000000000004</c:v>
                </c:pt>
                <c:pt idx="5">
                  <c:v>0.2</c:v>
                </c:pt>
                <c:pt idx="6">
                  <c:v>1.2</c:v>
                </c:pt>
                <c:pt idx="7">
                  <c:v>0</c:v>
                </c:pt>
                <c:pt idx="8">
                  <c:v>0.9</c:v>
                </c:pt>
                <c:pt idx="9">
                  <c:v>0.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24.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47A-42D8-8FD6-5F459C883117}"/>
                </c:ext>
              </c:extLst>
            </c:dLbl>
            <c:dLbl>
              <c:idx val="1"/>
              <c:tx>
                <c:rich>
                  <a:bodyPr/>
                  <a:lstStyle/>
                  <a:p>
                    <a:r>
                      <a:t>101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47A-42D8-8FD6-5F459C883117}"/>
                </c:ext>
              </c:extLst>
            </c:dLbl>
            <c:dLbl>
              <c:idx val="2"/>
              <c:tx>
                <c:rich>
                  <a:bodyPr/>
                  <a:lstStyle/>
                  <a:p>
                    <a:r>
                      <a:t>2094.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47A-42D8-8FD6-5F459C883117}"/>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47A-42D8-8FD6-5F459C883117}"/>
                </c:ext>
              </c:extLst>
            </c:dLbl>
            <c:dLbl>
              <c:idx val="4"/>
              <c:tx>
                <c:rich>
                  <a:bodyPr/>
                  <a:lstStyle/>
                  <a:p>
                    <a:r>
                      <a:t>1379.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47A-42D8-8FD6-5F459C883117}"/>
                </c:ext>
              </c:extLst>
            </c:dLbl>
            <c:dLbl>
              <c:idx val="5"/>
              <c:tx>
                <c:rich>
                  <a:bodyPr/>
                  <a:lstStyle/>
                  <a:p>
                    <a:r>
                      <a:t>1473.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47A-42D8-8FD6-5F459C883117}"/>
                </c:ext>
              </c:extLst>
            </c:dLbl>
            <c:dLbl>
              <c:idx val="6"/>
              <c:tx>
                <c:rich>
                  <a:bodyPr/>
                  <a:lstStyle/>
                  <a:p>
                    <a:r>
                      <a:t>1828.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47A-42D8-8FD6-5F459C883117}"/>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47A-42D8-8FD6-5F459C883117}"/>
                </c:ext>
              </c:extLst>
            </c:dLbl>
            <c:dLbl>
              <c:idx val="8"/>
              <c:tx>
                <c:rich>
                  <a:bodyPr/>
                  <a:lstStyle/>
                  <a:p>
                    <a:r>
                      <a:t>68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47A-42D8-8FD6-5F459C883117}"/>
                </c:ext>
              </c:extLst>
            </c:dLbl>
            <c:dLbl>
              <c:idx val="9"/>
              <c:tx>
                <c:rich>
                  <a:bodyPr/>
                  <a:lstStyle/>
                  <a:p>
                    <a:r>
                      <a:t>1167.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47A-42D8-8FD6-5F459C88311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 Crema</c:v>
                  </c:pt>
                  <c:pt idx="2">
                    <c:v>Sunscreen Derma Crema</c:v>
                  </c:pt>
                  <c:pt idx="4">
                    <c:v>Sunscreen Cosmetics Liquido</c:v>
                  </c:pt>
                  <c:pt idx="6">
                    <c:v>Sunscreen Cosmetics Gel</c:v>
                  </c:pt>
                  <c:pt idx="8">
                    <c:v>Sunscreen Sport Crema</c:v>
                  </c:pt>
                </c:lvl>
              </c:multiLvlStrCache>
            </c:multiLvlStrRef>
          </c:cat>
          <c:val>
            <c:numRef>
              <c:f>Sheet1!$D$2:$D$11</c:f>
              <c:numCache>
                <c:formatCode>General</c:formatCode>
                <c:ptCount val="10"/>
                <c:pt idx="0">
                  <c:v>1124.7882999999999</c:v>
                </c:pt>
                <c:pt idx="1">
                  <c:v>1016.6974</c:v>
                </c:pt>
                <c:pt idx="2">
                  <c:v>2094.5299</c:v>
                </c:pt>
                <c:pt idx="3">
                  <c:v>0</c:v>
                </c:pt>
                <c:pt idx="4">
                  <c:v>1379.1510000000001</c:v>
                </c:pt>
                <c:pt idx="5">
                  <c:v>1473.6878999999999</c:v>
                </c:pt>
                <c:pt idx="6">
                  <c:v>1828.0789</c:v>
                </c:pt>
                <c:pt idx="7">
                  <c:v>0</c:v>
                </c:pt>
                <c:pt idx="8">
                  <c:v>686.49839999999995</c:v>
                </c:pt>
                <c:pt idx="9">
                  <c:v>1167.4550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A9CDE44-F5F7-4272-B3D8-2F032C306D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8AA27C-F46B-4B43-B4C0-135AEAD33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F74B444-94B3-4E0D-8D5D-06596A83E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DD931EE-9531-42BE-AE2C-5B73764ACE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A5CF7E7-3BD2-4A13-9011-15ECE7390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989436-EB20-4DC6-A2E2-AA34DFE2A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86A84B9-10A2-447A-B593-E068B0F650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E1F5BFA-B5C9-4509-9824-94B94A0B98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6.23769999999999</c:v>
                </c:pt>
                <c:pt idx="1">
                  <c:v>451.89089999999999</c:v>
                </c:pt>
                <c:pt idx="2">
                  <c:v>209.54249999999999</c:v>
                </c:pt>
                <c:pt idx="3">
                  <c:v>158.24529999999999</c:v>
                </c:pt>
                <c:pt idx="4">
                  <c:v>80.124899999999997</c:v>
                </c:pt>
                <c:pt idx="5">
                  <c:v>96.877300000000005</c:v>
                </c:pt>
                <c:pt idx="6">
                  <c:v>291.05380000000002</c:v>
                </c:pt>
                <c:pt idx="7">
                  <c:v>205.88</c:v>
                </c:pt>
              </c:numCache>
            </c:numRef>
          </c:xVal>
          <c:yVal>
            <c:numRef>
              <c:f>Sheet1!$B$2:$B$9</c:f>
              <c:numCache>
                <c:formatCode>General</c:formatCode>
                <c:ptCount val="8"/>
                <c:pt idx="0">
                  <c:v>1.33</c:v>
                </c:pt>
                <c:pt idx="1">
                  <c:v>3.661</c:v>
                </c:pt>
                <c:pt idx="2">
                  <c:v>0.90200000000000002</c:v>
                </c:pt>
                <c:pt idx="3">
                  <c:v>0.66800000000000004</c:v>
                </c:pt>
                <c:pt idx="4">
                  <c:v>0.49399999999999999</c:v>
                </c:pt>
                <c:pt idx="5">
                  <c:v>0.61699999999999999</c:v>
                </c:pt>
                <c:pt idx="6">
                  <c:v>1.7809999999999999</c:v>
                </c:pt>
                <c:pt idx="7">
                  <c:v>1.3120000000000001</c:v>
                </c:pt>
              </c:numCache>
            </c:numRef>
          </c:yVal>
          <c:bubbleSize>
            <c:numRef>
              <c:f>Sheet1!$C$2:$C$9</c:f>
              <c:numCache>
                <c:formatCode>General</c:formatCode>
                <c:ptCount val="8"/>
                <c:pt idx="0">
                  <c:v>8697512</c:v>
                </c:pt>
                <c:pt idx="1">
                  <c:v>2920119</c:v>
                </c:pt>
                <c:pt idx="2">
                  <c:v>2109674</c:v>
                </c:pt>
                <c:pt idx="3">
                  <c:v>1330843</c:v>
                </c:pt>
                <c:pt idx="4">
                  <c:v>1209966</c:v>
                </c:pt>
                <c:pt idx="5">
                  <c:v>1076307</c:v>
                </c:pt>
                <c:pt idx="6">
                  <c:v>400490</c:v>
                </c:pt>
                <c:pt idx="7">
                  <c:v>5147</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Banana Boat</c:v>
                  </c:pt>
                  <c:pt idx="3">
                    <c:v>Hawaiian Tropic</c:v>
                  </c:pt>
                  <c:pt idx="4">
                    <c:v>Caribbean Beach</c:v>
                  </c:pt>
                  <c:pt idx="5">
                    <c:v>Nuvel</c:v>
                  </c:pt>
                  <c:pt idx="6">
                    <c:v>Eclipsol</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2"/>
          <c:min val="6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C621B786-E7AA-446E-A4B1-2CC495CF3D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CA-4C16-90F6-A0D9A3D8DA8E}"/>
                </c:ext>
              </c:extLst>
            </c:dLbl>
            <c:dLbl>
              <c:idx val="2"/>
              <c:tx>
                <c:rich>
                  <a:bodyPr/>
                  <a:lstStyle/>
                  <a:p>
                    <a:fld id="{D0090BD7-6BAE-4728-B393-BADC9182A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A79F4851-A446-4323-BDDF-2F510257A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4C5F37C2-189C-433C-93A8-7B0E725F3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35FC9CA7-875C-4AD2-B392-F2D557C79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25FCA770-3620-4836-BE6A-4A40684EE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AAFADC4C-B1CB-4FB7-AA40-C2A61E2923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0C8F34D6-3316-44C0-A229-37F35FF43A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74.19709999999998</c:v>
                </c:pt>
              </c:numCache>
            </c:numRef>
          </c:xVal>
          <c:yVal>
            <c:numRef>
              <c:f>Sheet1!$B$2:$B$2</c:f>
              <c:numCache>
                <c:formatCode>General</c:formatCode>
                <c:ptCount val="1"/>
                <c:pt idx="0">
                  <c:v>0.996</c:v>
                </c:pt>
              </c:numCache>
            </c:numRef>
          </c:yVal>
          <c:bubbleSize>
            <c:numRef>
              <c:f>Sheet1!$C$2:$C$2</c:f>
              <c:numCache>
                <c:formatCode>General</c:formatCode>
                <c:ptCount val="1"/>
                <c:pt idx="0">
                  <c:v>121560916</c:v>
                </c:pt>
              </c:numCache>
            </c:numRef>
          </c:bubbleSize>
          <c:bubble3D val="0"/>
          <c:extLst>
            <c:ext xmlns:c15="http://schemas.microsoft.com/office/drawing/2012/chart" uri="{02D57815-91ED-43cb-92C2-25804820EDAC}">
              <c15:datalabelsRange>
                <c15:f>Sheet1!$E$2:$E$10</c15:f>
                <c15:dlblRangeCache>
                  <c:ptCount val="9"/>
                  <c:pt idx="0">
                    <c:v>Nivea</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2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9DBC-4D57-A4BD-7B3C4C3C9878}"/>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9DBC-4D57-A4BD-7B3C4C3C9878}"/>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 Crema</c:v>
                  </c:pt>
                  <c:pt idx="2">
                    <c:v>Sunscreen Cosmetics Liquido</c:v>
                  </c:pt>
                  <c:pt idx="4">
                    <c:v>Sunscreen Derma Crema</c:v>
                  </c:pt>
                  <c:pt idx="6">
                    <c:v>Sunscreen Cosmetics Gel</c:v>
                  </c:pt>
                  <c:pt idx="8">
                    <c:v>Sunscreen Sport Liquido</c:v>
                  </c:pt>
                </c:lvl>
              </c:multiLvlStrCache>
            </c:multiLvlStrRef>
          </c:cat>
          <c:val>
            <c:numRef>
              <c:f>Sheet1!$C$2:$C$11</c:f>
              <c:numCache>
                <c:formatCode>General</c:formatCode>
                <c:ptCount val="10"/>
                <c:pt idx="0">
                  <c:v>440.2</c:v>
                </c:pt>
                <c:pt idx="1">
                  <c:v>31.3</c:v>
                </c:pt>
                <c:pt idx="2">
                  <c:v>384.5</c:v>
                </c:pt>
                <c:pt idx="3">
                  <c:v>43</c:v>
                </c:pt>
                <c:pt idx="4">
                  <c:v>261.7</c:v>
                </c:pt>
                <c:pt idx="5">
                  <c:v>0</c:v>
                </c:pt>
                <c:pt idx="6">
                  <c:v>91.2</c:v>
                </c:pt>
                <c:pt idx="7">
                  <c:v>0</c:v>
                </c:pt>
                <c:pt idx="8">
                  <c:v>72.3</c:v>
                </c:pt>
                <c:pt idx="9">
                  <c:v>2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08.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DBC-4D57-A4BD-7B3C4C3C9878}"/>
                </c:ext>
              </c:extLst>
            </c:dLbl>
            <c:dLbl>
              <c:idx val="1"/>
              <c:tx>
                <c:rich>
                  <a:bodyPr/>
                  <a:lstStyle/>
                  <a:p>
                    <a:r>
                      <a:t>1040.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DBC-4D57-A4BD-7B3C4C3C9878}"/>
                </c:ext>
              </c:extLst>
            </c:dLbl>
            <c:dLbl>
              <c:idx val="2"/>
              <c:tx>
                <c:rich>
                  <a:bodyPr/>
                  <a:lstStyle/>
                  <a:p>
                    <a:r>
                      <a:t>1333.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9DBC-4D57-A4BD-7B3C4C3C9878}"/>
                </c:ext>
              </c:extLst>
            </c:dLbl>
            <c:dLbl>
              <c:idx val="3"/>
              <c:tx>
                <c:rich>
                  <a:bodyPr/>
                  <a:lstStyle/>
                  <a:p>
                    <a:r>
                      <a:t>1240.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DBC-4D57-A4BD-7B3C4C3C9878}"/>
                </c:ext>
              </c:extLst>
            </c:dLbl>
            <c:dLbl>
              <c:idx val="4"/>
              <c:tx>
                <c:rich>
                  <a:bodyPr/>
                  <a:lstStyle/>
                  <a:p>
                    <a:r>
                      <a:t>4196.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9DBC-4D57-A4BD-7B3C4C3C9878}"/>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DBC-4D57-A4BD-7B3C4C3C9878}"/>
                </c:ext>
              </c:extLst>
            </c:dLbl>
            <c:dLbl>
              <c:idx val="6"/>
              <c:tx>
                <c:rich>
                  <a:bodyPr/>
                  <a:lstStyle/>
                  <a:p>
                    <a:r>
                      <a:t>139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9DBC-4D57-A4BD-7B3C4C3C9878}"/>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DBC-4D57-A4BD-7B3C4C3C9878}"/>
                </c:ext>
              </c:extLst>
            </c:dLbl>
            <c:dLbl>
              <c:idx val="8"/>
              <c:tx>
                <c:rich>
                  <a:bodyPr/>
                  <a:lstStyle/>
                  <a:p>
                    <a:r>
                      <a:t>1196.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9DBC-4D57-A4BD-7B3C4C3C9878}"/>
                </c:ext>
              </c:extLst>
            </c:dLbl>
            <c:dLbl>
              <c:idx val="9"/>
              <c:tx>
                <c:rich>
                  <a:bodyPr/>
                  <a:lstStyle/>
                  <a:p>
                    <a:r>
                      <a:t>1268.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DBC-4D57-A4BD-7B3C4C3C987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 Crema</c:v>
                  </c:pt>
                  <c:pt idx="2">
                    <c:v>Sunscreen Cosmetics Liquido</c:v>
                  </c:pt>
                  <c:pt idx="4">
                    <c:v>Sunscreen Derma Crema</c:v>
                  </c:pt>
                  <c:pt idx="6">
                    <c:v>Sunscreen Cosmetics Gel</c:v>
                  </c:pt>
                  <c:pt idx="8">
                    <c:v>Sunscreen Sport Liquido</c:v>
                  </c:pt>
                </c:lvl>
              </c:multiLvlStrCache>
            </c:multiLvlStrRef>
          </c:cat>
          <c:val>
            <c:numRef>
              <c:f>Sheet1!$D$2:$D$11</c:f>
              <c:numCache>
                <c:formatCode>General</c:formatCode>
                <c:ptCount val="10"/>
                <c:pt idx="0">
                  <c:v>1308.6448</c:v>
                </c:pt>
                <c:pt idx="1">
                  <c:v>1040.1455000000001</c:v>
                </c:pt>
                <c:pt idx="2">
                  <c:v>1333.1419000000001</c:v>
                </c:pt>
                <c:pt idx="3">
                  <c:v>1240.2072000000001</c:v>
                </c:pt>
                <c:pt idx="4">
                  <c:v>4196.2502999999997</c:v>
                </c:pt>
                <c:pt idx="5">
                  <c:v>0</c:v>
                </c:pt>
                <c:pt idx="6">
                  <c:v>1392.4169999999999</c:v>
                </c:pt>
                <c:pt idx="7">
                  <c:v>0</c:v>
                </c:pt>
                <c:pt idx="8">
                  <c:v>1196.9727</c:v>
                </c:pt>
                <c:pt idx="9">
                  <c:v>1268.6392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5FE4-41CF-BE14-4B3B02E35B1F}"/>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5FE4-41CF-BE14-4B3B02E35B1F}"/>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Derma Crema</c:v>
                  </c:pt>
                  <c:pt idx="2">
                    <c:v>Sunscreen Cosmetics Crema</c:v>
                  </c:pt>
                  <c:pt idx="4">
                    <c:v>Sunscreen Cosmetics Liquido</c:v>
                  </c:pt>
                  <c:pt idx="6">
                    <c:v>Sunscreen Derma Fluido</c:v>
                  </c:pt>
                  <c:pt idx="8">
                    <c:v>Sunscreen Derma Gel</c:v>
                  </c:pt>
                </c:lvl>
              </c:multiLvlStrCache>
            </c:multiLvlStrRef>
          </c:cat>
          <c:val>
            <c:numRef>
              <c:f>Sheet1!$C$2:$C$11</c:f>
              <c:numCache>
                <c:formatCode>General</c:formatCode>
                <c:ptCount val="10"/>
                <c:pt idx="0">
                  <c:v>1164.0999999999999</c:v>
                </c:pt>
                <c:pt idx="1">
                  <c:v>0</c:v>
                </c:pt>
                <c:pt idx="2">
                  <c:v>664</c:v>
                </c:pt>
                <c:pt idx="3">
                  <c:v>0</c:v>
                </c:pt>
                <c:pt idx="4">
                  <c:v>601.20000000000005</c:v>
                </c:pt>
                <c:pt idx="5">
                  <c:v>13.1</c:v>
                </c:pt>
                <c:pt idx="6">
                  <c:v>376.6</c:v>
                </c:pt>
                <c:pt idx="7">
                  <c:v>0</c:v>
                </c:pt>
                <c:pt idx="8">
                  <c:v>316.7</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6133.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5FE4-41CF-BE14-4B3B02E35B1F}"/>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5FE4-41CF-BE14-4B3B02E35B1F}"/>
                </c:ext>
              </c:extLst>
            </c:dLbl>
            <c:dLbl>
              <c:idx val="2"/>
              <c:tx>
                <c:rich>
                  <a:bodyPr/>
                  <a:lstStyle/>
                  <a:p>
                    <a:r>
                      <a:t>1350.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5FE4-41CF-BE14-4B3B02E35B1F}"/>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5FE4-41CF-BE14-4B3B02E35B1F}"/>
                </c:ext>
              </c:extLst>
            </c:dLbl>
            <c:dLbl>
              <c:idx val="4"/>
              <c:tx>
                <c:rich>
                  <a:bodyPr/>
                  <a:lstStyle/>
                  <a:p>
                    <a:r>
                      <a:t>1409.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5FE4-41CF-BE14-4B3B02E35B1F}"/>
                </c:ext>
              </c:extLst>
            </c:dLbl>
            <c:dLbl>
              <c:idx val="5"/>
              <c:tx>
                <c:rich>
                  <a:bodyPr/>
                  <a:lstStyle/>
                  <a:p>
                    <a:r>
                      <a:t>392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5FE4-41CF-BE14-4B3B02E35B1F}"/>
                </c:ext>
              </c:extLst>
            </c:dLbl>
            <c:dLbl>
              <c:idx val="6"/>
              <c:tx>
                <c:rich>
                  <a:bodyPr/>
                  <a:lstStyle/>
                  <a:p>
                    <a:r>
                      <a:t>13033.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5FE4-41CF-BE14-4B3B02E35B1F}"/>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5FE4-41CF-BE14-4B3B02E35B1F}"/>
                </c:ext>
              </c:extLst>
            </c:dLbl>
            <c:dLbl>
              <c:idx val="8"/>
              <c:tx>
                <c:rich>
                  <a:bodyPr/>
                  <a:lstStyle/>
                  <a:p>
                    <a:r>
                      <a:t>5133.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5FE4-41CF-BE14-4B3B02E35B1F}"/>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5FE4-41CF-BE14-4B3B02E35B1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Derma Crema</c:v>
                  </c:pt>
                  <c:pt idx="2">
                    <c:v>Sunscreen Cosmetics Crema</c:v>
                  </c:pt>
                  <c:pt idx="4">
                    <c:v>Sunscreen Cosmetics Liquido</c:v>
                  </c:pt>
                  <c:pt idx="6">
                    <c:v>Sunscreen Derma Fluido</c:v>
                  </c:pt>
                  <c:pt idx="8">
                    <c:v>Sunscreen Derma Gel</c:v>
                  </c:pt>
                </c:lvl>
              </c:multiLvlStrCache>
            </c:multiLvlStrRef>
          </c:cat>
          <c:val>
            <c:numRef>
              <c:f>Sheet1!$D$2:$D$11</c:f>
              <c:numCache>
                <c:formatCode>General</c:formatCode>
                <c:ptCount val="10"/>
                <c:pt idx="0">
                  <c:v>6133.5186999999996</c:v>
                </c:pt>
                <c:pt idx="1">
                  <c:v>0</c:v>
                </c:pt>
                <c:pt idx="2">
                  <c:v>1350.7456</c:v>
                </c:pt>
                <c:pt idx="3">
                  <c:v>0</c:v>
                </c:pt>
                <c:pt idx="4">
                  <c:v>1409.1302000000001</c:v>
                </c:pt>
                <c:pt idx="5">
                  <c:v>3923.2984000000001</c:v>
                </c:pt>
                <c:pt idx="6">
                  <c:v>13033.6865</c:v>
                </c:pt>
                <c:pt idx="7">
                  <c:v>0</c:v>
                </c:pt>
                <c:pt idx="8">
                  <c:v>5133.1099000000004</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7936-4563-9B60-80F19844A32B}"/>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7936-4563-9B60-80F19844A32B}"/>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Derma Crema</c:v>
                  </c:pt>
                  <c:pt idx="2">
                    <c:v>Sunscreen Cosmetics Crema</c:v>
                  </c:pt>
                  <c:pt idx="4">
                    <c:v>Sunscreen Cosmetics Liquido</c:v>
                  </c:pt>
                  <c:pt idx="6">
                    <c:v>Sunscreen Derma Fluido</c:v>
                  </c:pt>
                  <c:pt idx="8">
                    <c:v>Sunscreen Derma Gel</c:v>
                  </c:pt>
                </c:lvl>
              </c:multiLvlStrCache>
            </c:multiLvlStrRef>
          </c:cat>
          <c:val>
            <c:numRef>
              <c:f>Sheet1!$C$2:$C$11</c:f>
              <c:numCache>
                <c:formatCode>General</c:formatCode>
                <c:ptCount val="10"/>
                <c:pt idx="0">
                  <c:v>1029.7</c:v>
                </c:pt>
                <c:pt idx="1">
                  <c:v>0</c:v>
                </c:pt>
                <c:pt idx="2">
                  <c:v>590.6</c:v>
                </c:pt>
                <c:pt idx="3">
                  <c:v>0</c:v>
                </c:pt>
                <c:pt idx="4">
                  <c:v>555.1</c:v>
                </c:pt>
                <c:pt idx="5">
                  <c:v>13</c:v>
                </c:pt>
                <c:pt idx="6">
                  <c:v>333.5</c:v>
                </c:pt>
                <c:pt idx="7">
                  <c:v>0</c:v>
                </c:pt>
                <c:pt idx="8">
                  <c:v>291.60000000000002</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6653.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36-4563-9B60-80F19844A32B}"/>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36-4563-9B60-80F19844A32B}"/>
                </c:ext>
              </c:extLst>
            </c:dLbl>
            <c:dLbl>
              <c:idx val="2"/>
              <c:tx>
                <c:rich>
                  <a:bodyPr/>
                  <a:lstStyle/>
                  <a:p>
                    <a:r>
                      <a:t>1385.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36-4563-9B60-80F19844A32B}"/>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36-4563-9B60-80F19844A32B}"/>
                </c:ext>
              </c:extLst>
            </c:dLbl>
            <c:dLbl>
              <c:idx val="4"/>
              <c:tx>
                <c:rich>
                  <a:bodyPr/>
                  <a:lstStyle/>
                  <a:p>
                    <a:r>
                      <a:t>142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36-4563-9B60-80F19844A32B}"/>
                </c:ext>
              </c:extLst>
            </c:dLbl>
            <c:dLbl>
              <c:idx val="5"/>
              <c:tx>
                <c:rich>
                  <a:bodyPr/>
                  <a:lstStyle/>
                  <a:p>
                    <a:r>
                      <a:t>4126.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36-4563-9B60-80F19844A32B}"/>
                </c:ext>
              </c:extLst>
            </c:dLbl>
            <c:dLbl>
              <c:idx val="6"/>
              <c:tx>
                <c:rich>
                  <a:bodyPr/>
                  <a:lstStyle/>
                  <a:p>
                    <a:r>
                      <a:t>13590.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36-4563-9B60-80F19844A32B}"/>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36-4563-9B60-80F19844A32B}"/>
                </c:ext>
              </c:extLst>
            </c:dLbl>
            <c:dLbl>
              <c:idx val="8"/>
              <c:tx>
                <c:rich>
                  <a:bodyPr/>
                  <a:lstStyle/>
                  <a:p>
                    <a:r>
                      <a:t>5153.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36-4563-9B60-80F19844A32B}"/>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36-4563-9B60-80F19844A32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Derma Crema</c:v>
                  </c:pt>
                  <c:pt idx="2">
                    <c:v>Sunscreen Cosmetics Crema</c:v>
                  </c:pt>
                  <c:pt idx="4">
                    <c:v>Sunscreen Cosmetics Liquido</c:v>
                  </c:pt>
                  <c:pt idx="6">
                    <c:v>Sunscreen Derma Fluido</c:v>
                  </c:pt>
                  <c:pt idx="8">
                    <c:v>Sunscreen Derma Gel</c:v>
                  </c:pt>
                </c:lvl>
              </c:multiLvlStrCache>
            </c:multiLvlStrRef>
          </c:cat>
          <c:val>
            <c:numRef>
              <c:f>Sheet1!$D$2:$D$11</c:f>
              <c:numCache>
                <c:formatCode>General</c:formatCode>
                <c:ptCount val="10"/>
                <c:pt idx="0">
                  <c:v>6653.6706999999997</c:v>
                </c:pt>
                <c:pt idx="1">
                  <c:v>0</c:v>
                </c:pt>
                <c:pt idx="2">
                  <c:v>1385.6142</c:v>
                </c:pt>
                <c:pt idx="3">
                  <c:v>0</c:v>
                </c:pt>
                <c:pt idx="4">
                  <c:v>1422.7560000000001</c:v>
                </c:pt>
                <c:pt idx="5">
                  <c:v>4126.1409999999996</c:v>
                </c:pt>
                <c:pt idx="6">
                  <c:v>13590.282999999999</c:v>
                </c:pt>
                <c:pt idx="7">
                  <c:v>0</c:v>
                </c:pt>
                <c:pt idx="8">
                  <c:v>5153.4772999999996</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9B15-464C-80C9-4906F5F26F51}"/>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9B15-464C-80C9-4906F5F26F51}"/>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Derma Crema</c:v>
                  </c:pt>
                  <c:pt idx="2">
                    <c:v>Sunscreen Derma Fluido</c:v>
                  </c:pt>
                  <c:pt idx="4">
                    <c:v>Sunscreen Derma Gel</c:v>
                  </c:pt>
                  <c:pt idx="6">
                    <c:v>Sunscreen Cosmetics Liquido</c:v>
                  </c:pt>
                  <c:pt idx="8">
                    <c:v>Sunscreen Cosmetics Crema</c:v>
                  </c:pt>
                </c:lvl>
              </c:multiLvlStrCache>
            </c:multiLvlStrRef>
          </c:cat>
          <c:val>
            <c:numRef>
              <c:f>Sheet1!$C$2:$C$11</c:f>
              <c:numCache>
                <c:formatCode>General</c:formatCode>
                <c:ptCount val="10"/>
                <c:pt idx="0">
                  <c:v>767.9</c:v>
                </c:pt>
                <c:pt idx="1">
                  <c:v>0</c:v>
                </c:pt>
                <c:pt idx="2">
                  <c:v>288.60000000000002</c:v>
                </c:pt>
                <c:pt idx="3">
                  <c:v>0</c:v>
                </c:pt>
                <c:pt idx="4">
                  <c:v>253</c:v>
                </c:pt>
                <c:pt idx="5">
                  <c:v>0</c:v>
                </c:pt>
                <c:pt idx="6">
                  <c:v>168.8</c:v>
                </c:pt>
                <c:pt idx="7">
                  <c:v>0.5</c:v>
                </c:pt>
                <c:pt idx="8">
                  <c:v>148.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8438.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B15-464C-80C9-4906F5F26F51}"/>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B15-464C-80C9-4906F5F26F51}"/>
                </c:ext>
              </c:extLst>
            </c:dLbl>
            <c:dLbl>
              <c:idx val="2"/>
              <c:tx>
                <c:rich>
                  <a:bodyPr/>
                  <a:lstStyle/>
                  <a:p>
                    <a:r>
                      <a:t>13871.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9B15-464C-80C9-4906F5F26F51}"/>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B15-464C-80C9-4906F5F26F51}"/>
                </c:ext>
              </c:extLst>
            </c:dLbl>
            <c:dLbl>
              <c:idx val="4"/>
              <c:tx>
                <c:rich>
                  <a:bodyPr/>
                  <a:lstStyle/>
                  <a:p>
                    <a:r>
                      <a:t>533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9B15-464C-80C9-4906F5F26F51}"/>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B15-464C-80C9-4906F5F26F51}"/>
                </c:ext>
              </c:extLst>
            </c:dLbl>
            <c:dLbl>
              <c:idx val="6"/>
              <c:tx>
                <c:rich>
                  <a:bodyPr/>
                  <a:lstStyle/>
                  <a:p>
                    <a:r>
                      <a:t>1690.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9B15-464C-80C9-4906F5F26F51}"/>
                </c:ext>
              </c:extLst>
            </c:dLbl>
            <c:dLbl>
              <c:idx val="7"/>
              <c:tx>
                <c:rich>
                  <a:bodyPr/>
                  <a:lstStyle/>
                  <a:p>
                    <a:r>
                      <a:t>1152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B15-464C-80C9-4906F5F26F51}"/>
                </c:ext>
              </c:extLst>
            </c:dLbl>
            <c:dLbl>
              <c:idx val="8"/>
              <c:tx>
                <c:rich>
                  <a:bodyPr/>
                  <a:lstStyle/>
                  <a:p>
                    <a:r>
                      <a:t>1689.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9B15-464C-80C9-4906F5F26F51}"/>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B15-464C-80C9-4906F5F26F5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Derma Crema</c:v>
                  </c:pt>
                  <c:pt idx="2">
                    <c:v>Sunscreen Derma Fluido</c:v>
                  </c:pt>
                  <c:pt idx="4">
                    <c:v>Sunscreen Derma Gel</c:v>
                  </c:pt>
                  <c:pt idx="6">
                    <c:v>Sunscreen Cosmetics Liquido</c:v>
                  </c:pt>
                  <c:pt idx="8">
                    <c:v>Sunscreen Cosmetics Crema</c:v>
                  </c:pt>
                </c:lvl>
              </c:multiLvlStrCache>
            </c:multiLvlStrRef>
          </c:cat>
          <c:val>
            <c:numRef>
              <c:f>Sheet1!$D$2:$D$11</c:f>
              <c:numCache>
                <c:formatCode>General</c:formatCode>
                <c:ptCount val="10"/>
                <c:pt idx="0">
                  <c:v>8438.1460999999999</c:v>
                </c:pt>
                <c:pt idx="1">
                  <c:v>0</c:v>
                </c:pt>
                <c:pt idx="2">
                  <c:v>13871.3526</c:v>
                </c:pt>
                <c:pt idx="3">
                  <c:v>0</c:v>
                </c:pt>
                <c:pt idx="4">
                  <c:v>5330.2659999999996</c:v>
                </c:pt>
                <c:pt idx="5">
                  <c:v>0</c:v>
                </c:pt>
                <c:pt idx="6">
                  <c:v>1690.0078000000001</c:v>
                </c:pt>
                <c:pt idx="7">
                  <c:v>11522.434800000001</c:v>
                </c:pt>
                <c:pt idx="8">
                  <c:v>1689.654199999999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2179-4F37-B941-647609DCFF99}"/>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2179-4F37-B941-647609DCFF99}"/>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 Crema</c:v>
                  </c:pt>
                  <c:pt idx="2">
                    <c:v>Sunscreen Derma Crema</c:v>
                  </c:pt>
                  <c:pt idx="4">
                    <c:v>Sunscreen Cosmetics Liquido</c:v>
                  </c:pt>
                  <c:pt idx="6">
                    <c:v>Sunscreen Cosmetics Gel</c:v>
                  </c:pt>
                  <c:pt idx="8">
                    <c:v>Sunscreen Sport Crema</c:v>
                  </c:pt>
                </c:lvl>
              </c:multiLvlStrCache>
            </c:multiLvlStrRef>
          </c:cat>
          <c:val>
            <c:numRef>
              <c:f>Sheet1!$C$2:$C$11</c:f>
              <c:numCache>
                <c:formatCode>General</c:formatCode>
                <c:ptCount val="10"/>
                <c:pt idx="0">
                  <c:v>10</c:v>
                </c:pt>
                <c:pt idx="1">
                  <c:v>0</c:v>
                </c:pt>
                <c:pt idx="2">
                  <c:v>5.5</c:v>
                </c:pt>
                <c:pt idx="3">
                  <c:v>0</c:v>
                </c:pt>
                <c:pt idx="4">
                  <c:v>4.9000000000000004</c:v>
                </c:pt>
                <c:pt idx="5">
                  <c:v>0</c:v>
                </c:pt>
                <c:pt idx="6">
                  <c:v>1.2</c:v>
                </c:pt>
                <c:pt idx="7">
                  <c:v>0</c:v>
                </c:pt>
                <c:pt idx="8">
                  <c:v>0.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24.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179-4F37-B941-647609DCFF99}"/>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179-4F37-B941-647609DCFF99}"/>
                </c:ext>
              </c:extLst>
            </c:dLbl>
            <c:dLbl>
              <c:idx val="2"/>
              <c:tx>
                <c:rich>
                  <a:bodyPr/>
                  <a:lstStyle/>
                  <a:p>
                    <a:r>
                      <a:t>2094.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179-4F37-B941-647609DCFF99}"/>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179-4F37-B941-647609DCFF99}"/>
                </c:ext>
              </c:extLst>
            </c:dLbl>
            <c:dLbl>
              <c:idx val="4"/>
              <c:tx>
                <c:rich>
                  <a:bodyPr/>
                  <a:lstStyle/>
                  <a:p>
                    <a:r>
                      <a:t>1379.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179-4F37-B941-647609DCFF99}"/>
                </c:ext>
              </c:extLst>
            </c:dLbl>
            <c:dLbl>
              <c:idx val="5"/>
              <c:tx>
                <c:rich>
                  <a:bodyPr/>
                  <a:lstStyle/>
                  <a:p>
                    <a:r>
                      <a:t>1715.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179-4F37-B941-647609DCFF99}"/>
                </c:ext>
              </c:extLst>
            </c:dLbl>
            <c:dLbl>
              <c:idx val="6"/>
              <c:tx>
                <c:rich>
                  <a:bodyPr/>
                  <a:lstStyle/>
                  <a:p>
                    <a:r>
                      <a:t>1828.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179-4F37-B941-647609DCFF99}"/>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179-4F37-B941-647609DCFF99}"/>
                </c:ext>
              </c:extLst>
            </c:dLbl>
            <c:dLbl>
              <c:idx val="8"/>
              <c:tx>
                <c:rich>
                  <a:bodyPr/>
                  <a:lstStyle/>
                  <a:p>
                    <a:r>
                      <a:t>68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179-4F37-B941-647609DCFF99}"/>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179-4F37-B941-647609DCFF9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 Crema</c:v>
                  </c:pt>
                  <c:pt idx="2">
                    <c:v>Sunscreen Derma Crema</c:v>
                  </c:pt>
                  <c:pt idx="4">
                    <c:v>Sunscreen Cosmetics Liquido</c:v>
                  </c:pt>
                  <c:pt idx="6">
                    <c:v>Sunscreen Cosmetics Gel</c:v>
                  </c:pt>
                  <c:pt idx="8">
                    <c:v>Sunscreen Sport Crema</c:v>
                  </c:pt>
                </c:lvl>
              </c:multiLvlStrCache>
            </c:multiLvlStrRef>
          </c:cat>
          <c:val>
            <c:numRef>
              <c:f>Sheet1!$D$2:$D$11</c:f>
              <c:numCache>
                <c:formatCode>General</c:formatCode>
                <c:ptCount val="10"/>
                <c:pt idx="0">
                  <c:v>1124.7882999999999</c:v>
                </c:pt>
                <c:pt idx="1">
                  <c:v>0</c:v>
                </c:pt>
                <c:pt idx="2">
                  <c:v>2094.5299</c:v>
                </c:pt>
                <c:pt idx="3">
                  <c:v>0</c:v>
                </c:pt>
                <c:pt idx="4">
                  <c:v>1379.1510000000001</c:v>
                </c:pt>
                <c:pt idx="5">
                  <c:v>1715.6667</c:v>
                </c:pt>
                <c:pt idx="6">
                  <c:v>1828.0789</c:v>
                </c:pt>
                <c:pt idx="7">
                  <c:v>0</c:v>
                </c:pt>
                <c:pt idx="8">
                  <c:v>686.49839999999995</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B-88A4-4CCD-BF75-2E74343FD46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BCBBBB"/>
              </a:solidFill>
              <a:ln>
                <a:noFill/>
              </a:ln>
              <a:effectLst/>
            </c:spPr>
            <c:extLst>
              <c:ext xmlns:c16="http://schemas.microsoft.com/office/drawing/2014/chart" uri="{C3380CC4-5D6E-409C-BE32-E72D297353CC}">
                <c16:uniqueId val="{0000001D-88A4-4CCD-BF75-2E74343FD460}"/>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 Crema</c:v>
                  </c:pt>
                  <c:pt idx="2">
                    <c:v>Sunscreen Cosmetics Liquido</c:v>
                  </c:pt>
                  <c:pt idx="4">
                    <c:v>Sunscreen Derma Crema</c:v>
                  </c:pt>
                  <c:pt idx="6">
                    <c:v>Sunscreen Cosmetics Gel</c:v>
                  </c:pt>
                  <c:pt idx="8">
                    <c:v>Sunscreen Sport Liquido</c:v>
                  </c:pt>
                </c:lvl>
              </c:multiLvlStrCache>
            </c:multiLvlStrRef>
          </c:cat>
          <c:val>
            <c:numRef>
              <c:f>Sheet1!$C$2:$C$11</c:f>
              <c:numCache>
                <c:formatCode>General</c:formatCode>
                <c:ptCount val="10"/>
                <c:pt idx="0">
                  <c:v>440.2</c:v>
                </c:pt>
                <c:pt idx="1">
                  <c:v>0</c:v>
                </c:pt>
                <c:pt idx="2">
                  <c:v>384.5</c:v>
                </c:pt>
                <c:pt idx="3">
                  <c:v>12.5</c:v>
                </c:pt>
                <c:pt idx="4">
                  <c:v>261.7</c:v>
                </c:pt>
                <c:pt idx="5">
                  <c:v>0</c:v>
                </c:pt>
                <c:pt idx="6">
                  <c:v>91.2</c:v>
                </c:pt>
                <c:pt idx="7">
                  <c:v>0</c:v>
                </c:pt>
                <c:pt idx="8">
                  <c:v>72.3</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08.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88A4-4CCD-BF75-2E74343FD460}"/>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8A4-4CCD-BF75-2E74343FD460}"/>
                </c:ext>
              </c:extLst>
            </c:dLbl>
            <c:dLbl>
              <c:idx val="2"/>
              <c:tx>
                <c:rich>
                  <a:bodyPr/>
                  <a:lstStyle/>
                  <a:p>
                    <a:r>
                      <a:t>1333.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88A4-4CCD-BF75-2E74343FD460}"/>
                </c:ext>
              </c:extLst>
            </c:dLbl>
            <c:dLbl>
              <c:idx val="3"/>
              <c:tx>
                <c:rich>
                  <a:bodyPr/>
                  <a:lstStyle/>
                  <a:p>
                    <a:r>
                      <a:t>402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8A4-4CCD-BF75-2E74343FD460}"/>
                </c:ext>
              </c:extLst>
            </c:dLbl>
            <c:dLbl>
              <c:idx val="4"/>
              <c:tx>
                <c:rich>
                  <a:bodyPr/>
                  <a:lstStyle/>
                  <a:p>
                    <a:r>
                      <a:t>4196.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88A4-4CCD-BF75-2E74343FD46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8A4-4CCD-BF75-2E74343FD460}"/>
                </c:ext>
              </c:extLst>
            </c:dLbl>
            <c:dLbl>
              <c:idx val="6"/>
              <c:tx>
                <c:rich>
                  <a:bodyPr/>
                  <a:lstStyle/>
                  <a:p>
                    <a:r>
                      <a:t>139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88A4-4CCD-BF75-2E74343FD46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8A4-4CCD-BF75-2E74343FD460}"/>
                </c:ext>
              </c:extLst>
            </c:dLbl>
            <c:dLbl>
              <c:idx val="8"/>
              <c:tx>
                <c:rich>
                  <a:bodyPr/>
                  <a:lstStyle/>
                  <a:p>
                    <a:r>
                      <a:t>1196.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88A4-4CCD-BF75-2E74343FD46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8A4-4CCD-BF75-2E74343FD46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 Crema</c:v>
                  </c:pt>
                  <c:pt idx="2">
                    <c:v>Sunscreen Cosmetics Liquido</c:v>
                  </c:pt>
                  <c:pt idx="4">
                    <c:v>Sunscreen Derma Crema</c:v>
                  </c:pt>
                  <c:pt idx="6">
                    <c:v>Sunscreen Cosmetics Gel</c:v>
                  </c:pt>
                  <c:pt idx="8">
                    <c:v>Sunscreen Sport Liquido</c:v>
                  </c:pt>
                </c:lvl>
              </c:multiLvlStrCache>
            </c:multiLvlStrRef>
          </c:cat>
          <c:val>
            <c:numRef>
              <c:f>Sheet1!$D$2:$D$11</c:f>
              <c:numCache>
                <c:formatCode>General</c:formatCode>
                <c:ptCount val="10"/>
                <c:pt idx="0">
                  <c:v>1308.6448</c:v>
                </c:pt>
                <c:pt idx="1">
                  <c:v>0</c:v>
                </c:pt>
                <c:pt idx="2">
                  <c:v>1333.1419000000001</c:v>
                </c:pt>
                <c:pt idx="3">
                  <c:v>4025.5318000000002</c:v>
                </c:pt>
                <c:pt idx="4">
                  <c:v>4196.2502999999997</c:v>
                </c:pt>
                <c:pt idx="5">
                  <c:v>0</c:v>
                </c:pt>
                <c:pt idx="6">
                  <c:v>1392.4169999999999</c:v>
                </c:pt>
                <c:pt idx="7">
                  <c:v>0</c:v>
                </c:pt>
                <c:pt idx="8">
                  <c:v>1196.9727</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F97744C-A789-4680-ADA8-877F11348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25B1563-C959-47E0-B4E4-BF3EAC816D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13F7FA8-2290-44DA-9EC4-92516C759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87D437-94CF-49FC-B036-E0BBB06D2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74AF5AE-04BA-4F3C-AEE2-4AC70B88A8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0570E2A-2011-4291-9E8F-FFB20D99D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FEE958D-8B3D-45A3-9F18-7C6EBE55B6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F4B586F-D311-4A07-8FB8-C9F18B9D1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39.16470000000001</c:v>
                </c:pt>
                <c:pt idx="1">
                  <c:v>212.50139999999999</c:v>
                </c:pt>
                <c:pt idx="2">
                  <c:v>167.70750000000001</c:v>
                </c:pt>
                <c:pt idx="3">
                  <c:v>208.48599999999999</c:v>
                </c:pt>
              </c:numCache>
            </c:numRef>
          </c:xVal>
          <c:yVal>
            <c:numRef>
              <c:f>Sheet1!$B$2:$B$5</c:f>
              <c:numCache>
                <c:formatCode>General</c:formatCode>
                <c:ptCount val="4"/>
                <c:pt idx="0">
                  <c:v>0.97799999999999998</c:v>
                </c:pt>
                <c:pt idx="1">
                  <c:v>0.89800000000000002</c:v>
                </c:pt>
                <c:pt idx="2">
                  <c:v>0.90500000000000003</c:v>
                </c:pt>
                <c:pt idx="3">
                  <c:v>2.9</c:v>
                </c:pt>
              </c:numCache>
            </c:numRef>
          </c:yVal>
          <c:bubbleSize>
            <c:numRef>
              <c:f>Sheet1!$C$2:$C$5</c:f>
              <c:numCache>
                <c:formatCode>General</c:formatCode>
                <c:ptCount val="4"/>
                <c:pt idx="0">
                  <c:v>281719220</c:v>
                </c:pt>
                <c:pt idx="1">
                  <c:v>163269308</c:v>
                </c:pt>
                <c:pt idx="2">
                  <c:v>69681814</c:v>
                </c:pt>
                <c:pt idx="3">
                  <c:v>12989092</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7"/>
          <c:min val="13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3B46750-62D8-490F-9234-35EE25CFB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E6FF4AF9-D85E-45E3-85FA-09D31C3029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A598409E-2906-44C1-A0CE-2B777056D8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D05CB7C4-7F10-4C41-81C6-D6B469C47F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E58FCFCD-1673-4881-A78C-040A59E46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10BA6091-4F30-4092-B1D2-4B3C803123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5F73ABB3-E063-4A6A-A3B4-35B0158537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7AF00025-016F-416D-B7F6-A676A079F2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64.9982</c:v>
                </c:pt>
                <c:pt idx="1">
                  <c:v>417.04509999999999</c:v>
                </c:pt>
              </c:numCache>
            </c:numRef>
          </c:xVal>
          <c:yVal>
            <c:numRef>
              <c:f>Sheet1!$B$2:$B$3</c:f>
              <c:numCache>
                <c:formatCode>General</c:formatCode>
                <c:ptCount val="2"/>
                <c:pt idx="0">
                  <c:v>0.96</c:v>
                </c:pt>
                <c:pt idx="1">
                  <c:v>5.7969999999999997</c:v>
                </c:pt>
              </c:numCache>
            </c:numRef>
          </c:yVal>
          <c:bubbleSize>
            <c:numRef>
              <c:f>Sheet1!$C$2:$C$3</c:f>
              <c:numCache>
                <c:formatCode>General</c:formatCode>
                <c:ptCount val="2"/>
                <c:pt idx="0">
                  <c:v>61261761</c:v>
                </c:pt>
                <c:pt idx="1">
                  <c:v>2959352</c:v>
                </c:pt>
              </c:numCache>
            </c:numRef>
          </c:bubbleSize>
          <c:bubble3D val="0"/>
          <c:extLst>
            <c:ext xmlns:c15="http://schemas.microsoft.com/office/drawing/2012/chart" uri="{02D57815-91ED-43cb-92C2-25804820EDAC}">
              <c15:datalabelsRange>
                <c15:f>Sheet1!$E$2:$E$10</c15:f>
                <c15:dlblRangeCache>
                  <c:ptCount val="9"/>
                  <c:pt idx="0">
                    <c:v>Banana Boat</c:v>
                  </c:pt>
                  <c:pt idx="1">
                    <c:v>Mustela</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00"/>
          <c:min val="21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46BE574B-9B16-44CD-A02F-8EAC32C90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2EA30EC7-C526-4072-BED3-1BB23157F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6D7FA8AA-11B1-4327-AFEC-89D6C878B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C0EA2ECE-9520-423D-8E2A-0D48913A1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2DF24DA3-F40C-4BEC-86CA-82EE9D2627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95C93473-A644-4898-9F0C-7C73C53076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5DBCEAEE-4817-40C5-81BF-15EC119D8F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0E62E942-81E0-4703-B4DD-8F67F3C60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5.0504</c:v>
                </c:pt>
              </c:numCache>
            </c:numRef>
          </c:xVal>
          <c:yVal>
            <c:numRef>
              <c:f>Sheet1!$B$2:$B$2</c:f>
              <c:numCache>
                <c:formatCode>General</c:formatCode>
                <c:ptCount val="1"/>
                <c:pt idx="0">
                  <c:v>1</c:v>
                </c:pt>
              </c:numCache>
            </c:numRef>
          </c:yVal>
          <c:bubbleSize>
            <c:numRef>
              <c:f>Sheet1!$C$2:$C$2</c:f>
              <c:numCache>
                <c:formatCode>General</c:formatCode>
                <c:ptCount val="1"/>
                <c:pt idx="0">
                  <c:v>1562689</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6"/>
          <c:min val="16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2B263CEB-431D-48CB-BCC1-9206837AE1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CA-4C16-90F6-A0D9A3D8DA8E}"/>
                </c:ext>
              </c:extLst>
            </c:dLbl>
            <c:dLbl>
              <c:idx val="2"/>
              <c:tx>
                <c:rich>
                  <a:bodyPr/>
                  <a:lstStyle/>
                  <a:p>
                    <a:fld id="{64FB4B7B-17B5-4747-84FE-8F5968706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A220FEC5-A951-4041-ADAA-21C2AF771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18D54BA3-D84A-4581-ABF9-83DBCD2BF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1994FDC8-2BCA-4BBD-AF41-B63EB704F8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C7B4EB74-5ADD-4460-B912-EE18CC30E0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EABBC354-A0C6-4775-86DE-533063934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51F43543-DA97-4F00-8309-7E6646015A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4.5033</c:v>
                </c:pt>
              </c:numCache>
            </c:numRef>
          </c:xVal>
          <c:yVal>
            <c:numRef>
              <c:f>Sheet1!$B$2:$B$2</c:f>
              <c:numCache>
                <c:formatCode>General</c:formatCode>
                <c:ptCount val="1"/>
                <c:pt idx="0">
                  <c:v>0.92800000000000005</c:v>
                </c:pt>
              </c:numCache>
            </c:numRef>
          </c:yVal>
          <c:bubbleSize>
            <c:numRef>
              <c:f>Sheet1!$C$2:$C$2</c:f>
              <c:numCache>
                <c:formatCode>General</c:formatCode>
                <c:ptCount val="1"/>
                <c:pt idx="0">
                  <c:v>13053599</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7"/>
          <c:min val="17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BC85AD6-A5E5-4ADC-B418-F1470AC71B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892DF1E-18BD-46EF-A083-2C716F2581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AC9305-BBF0-49DF-B8D2-42B36AB270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F548D8-C70A-454E-A812-B5481EF25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0EF28B0-F344-498B-B081-FC25E26A4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9137F1D-D671-4260-B472-E301A3B84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A6E726C-9F15-4EC1-A442-0E7508A2C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D1EC368-1D54-49B7-9641-2F653D1CE2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73.11759999999998</c:v>
                </c:pt>
                <c:pt idx="1">
                  <c:v>351.66789999999997</c:v>
                </c:pt>
                <c:pt idx="2">
                  <c:v>322.3177</c:v>
                </c:pt>
                <c:pt idx="3">
                  <c:v>410.1413</c:v>
                </c:pt>
              </c:numCache>
            </c:numRef>
          </c:xVal>
          <c:yVal>
            <c:numRef>
              <c:f>Sheet1!$B$2:$B$5</c:f>
              <c:numCache>
                <c:formatCode>General</c:formatCode>
                <c:ptCount val="4"/>
                <c:pt idx="0">
                  <c:v>0.55500000000000005</c:v>
                </c:pt>
                <c:pt idx="1">
                  <c:v>1.9970000000000001</c:v>
                </c:pt>
                <c:pt idx="2">
                  <c:v>2.2029999999999998</c:v>
                </c:pt>
                <c:pt idx="3">
                  <c:v>2.89</c:v>
                </c:pt>
              </c:numCache>
            </c:numRef>
          </c:yVal>
          <c:bubbleSize>
            <c:numRef>
              <c:f>Sheet1!$C$2:$C$5</c:f>
              <c:numCache>
                <c:formatCode>General</c:formatCode>
                <c:ptCount val="4"/>
                <c:pt idx="0">
                  <c:v>2219627</c:v>
                </c:pt>
                <c:pt idx="1">
                  <c:v>2139196</c:v>
                </c:pt>
                <c:pt idx="2">
                  <c:v>871547</c:v>
                </c:pt>
                <c:pt idx="3">
                  <c:v>191536</c:v>
                </c:pt>
              </c:numCache>
            </c:numRef>
          </c:bubbleSize>
          <c:bubble3D val="0"/>
          <c:extLst>
            <c:ext xmlns:c15="http://schemas.microsoft.com/office/drawing/2012/chart" uri="{02D57815-91ED-43cb-92C2-25804820EDAC}">
              <c15:datalabelsRange>
                <c15:f>Sheet1!$E$2:$E$10</c15:f>
                <c15:dlblRangeCache>
                  <c:ptCount val="9"/>
                  <c:pt idx="0">
                    <c:v>Banana Boat</c:v>
                  </c:pt>
                  <c:pt idx="1">
                    <c:v>Australian Gold</c:v>
                  </c:pt>
                  <c:pt idx="2">
                    <c:v>Ocean Potion</c:v>
                  </c:pt>
                  <c:pt idx="3">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2"/>
          <c:min val="21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4B51D72-D0FA-4900-8DA0-80A0ABCDB6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60116A62-74E8-4861-805D-C4BE4028F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FEA014D6-4896-492C-8B8C-7FF9BADC8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FC3D6E31-F99D-411F-AB8D-3D71EFEFC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38700FB2-92A0-4018-A6C9-AC8563002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B4967731-7309-4B18-8E13-4BB5192D4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1B26EC8D-A8CB-4D68-8DC2-45CA2DBE7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7B9042A0-C286-4854-BC0C-8FEDAD4D7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51.44110000000001</c:v>
                </c:pt>
              </c:numCache>
            </c:numRef>
          </c:xVal>
          <c:yVal>
            <c:numRef>
              <c:f>Sheet1!$B$2:$B$2</c:f>
              <c:numCache>
                <c:formatCode>General</c:formatCode>
                <c:ptCount val="1"/>
                <c:pt idx="0">
                  <c:v>0.38600000000000001</c:v>
                </c:pt>
              </c:numCache>
            </c:numRef>
          </c:yVal>
          <c:bubbleSize>
            <c:numRef>
              <c:f>Sheet1!$C$2:$C$2</c:f>
              <c:numCache>
                <c:formatCode>General</c:formatCode>
                <c:ptCount val="1"/>
                <c:pt idx="0">
                  <c:v>2155740</c:v>
                </c:pt>
              </c:numCache>
            </c:numRef>
          </c:bubbleSize>
          <c:bubble3D val="0"/>
          <c:extLst>
            <c:ext xmlns:c15="http://schemas.microsoft.com/office/drawing/2012/chart" uri="{02D57815-91ED-43cb-92C2-25804820EDAC}">
              <c15:datalabelsRange>
                <c15:f>Sheet1!$E$2:$E$10</c15:f>
                <c15:dlblRangeCache>
                  <c:ptCount val="9"/>
                  <c:pt idx="0">
                    <c:v>Neutrogena</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2"/>
          <c:min val="28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F36EFCB-7280-4C85-AF4C-5735F46EF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C903098-34D0-4A66-8BB4-0E23D61D38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31D7F76D-5D16-4F37-AB45-16A4A973A9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57B4B156-B6BB-4C81-9049-C27AE6A3D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7F579644-9A02-4E68-A1EA-293A43796A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0A358351-4794-48C4-9568-146B17DF3D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ACF89BB6-B20B-4E06-BE41-2418A11D4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3B09809E-24A2-4B80-8F15-483EA9208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637.73310000000004</c:v>
                </c:pt>
                <c:pt idx="1">
                  <c:v>558.16319999999996</c:v>
                </c:pt>
                <c:pt idx="2">
                  <c:v>711.97400000000005</c:v>
                </c:pt>
                <c:pt idx="3">
                  <c:v>704.71749999999997</c:v>
                </c:pt>
              </c:numCache>
            </c:numRef>
          </c:xVal>
          <c:yVal>
            <c:numRef>
              <c:f>Sheet1!$B$2:$B$5</c:f>
              <c:numCache>
                <c:formatCode>General</c:formatCode>
                <c:ptCount val="4"/>
                <c:pt idx="0">
                  <c:v>0.78500000000000003</c:v>
                </c:pt>
                <c:pt idx="1">
                  <c:v>1.597</c:v>
                </c:pt>
                <c:pt idx="2">
                  <c:v>2.6349999999999998</c:v>
                </c:pt>
                <c:pt idx="3">
                  <c:v>0.86599999999999999</c:v>
                </c:pt>
              </c:numCache>
            </c:numRef>
          </c:yVal>
          <c:bubbleSize>
            <c:numRef>
              <c:f>Sheet1!$C$2:$C$5</c:f>
              <c:numCache>
                <c:formatCode>General</c:formatCode>
                <c:ptCount val="4"/>
                <c:pt idx="0">
                  <c:v>29178838</c:v>
                </c:pt>
                <c:pt idx="1">
                  <c:v>28021467</c:v>
                </c:pt>
                <c:pt idx="2">
                  <c:v>3774174</c:v>
                </c:pt>
                <c:pt idx="3">
                  <c:v>3737117</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Vichy</c:v>
                  </c:pt>
                  <c:pt idx="3">
                    <c:v>Heliocar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4"/>
          <c:min val="44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980ABA6C-B1F5-49DA-81CE-C0BA1AD20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2FE43C90-9A4A-4336-A96B-09B949A29E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10E67823-0366-4AD5-AA18-29B4F5485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F3E224A2-8A4A-4346-B473-D02C62ABF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D77D75C1-4ADB-42E1-85A8-F67264E25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F19E7559-C37C-44E4-86A3-6CFCAA24B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55B5A10F-E08C-4C3E-8451-5B1886656C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2516CB92-247C-48E5-A449-0DE5B3DDB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18.10490000000004</c:v>
                </c:pt>
                <c:pt idx="1">
                  <c:v>301.66059999999999</c:v>
                </c:pt>
                <c:pt idx="2">
                  <c:v>659.26099999999997</c:v>
                </c:pt>
                <c:pt idx="3">
                  <c:v>703.88639999999998</c:v>
                </c:pt>
                <c:pt idx="4">
                  <c:v>675.80600000000004</c:v>
                </c:pt>
                <c:pt idx="5">
                  <c:v>753.60119999999995</c:v>
                </c:pt>
                <c:pt idx="6">
                  <c:v>726.53290000000004</c:v>
                </c:pt>
                <c:pt idx="7">
                  <c:v>628.62009999999998</c:v>
                </c:pt>
              </c:numCache>
            </c:numRef>
          </c:xVal>
          <c:yVal>
            <c:numRef>
              <c:f>Sheet1!$B$2:$B$9</c:f>
              <c:numCache>
                <c:formatCode>General</c:formatCode>
                <c:ptCount val="8"/>
                <c:pt idx="0">
                  <c:v>1.88</c:v>
                </c:pt>
                <c:pt idx="1">
                  <c:v>0.5</c:v>
                </c:pt>
                <c:pt idx="2">
                  <c:v>1.0740000000000001</c:v>
                </c:pt>
                <c:pt idx="3">
                  <c:v>1.2490000000000001</c:v>
                </c:pt>
                <c:pt idx="4">
                  <c:v>1.8420000000000001</c:v>
                </c:pt>
                <c:pt idx="5">
                  <c:v>0.80800000000000005</c:v>
                </c:pt>
                <c:pt idx="6">
                  <c:v>3.5819999999999999</c:v>
                </c:pt>
                <c:pt idx="7">
                  <c:v>1.9550000000000001</c:v>
                </c:pt>
              </c:numCache>
            </c:numRef>
          </c:yVal>
          <c:bubbleSize>
            <c:numRef>
              <c:f>Sheet1!$C$2:$C$9</c:f>
              <c:numCache>
                <c:formatCode>General</c:formatCode>
                <c:ptCount val="8"/>
                <c:pt idx="0">
                  <c:v>293910122</c:v>
                </c:pt>
                <c:pt idx="1">
                  <c:v>158153722</c:v>
                </c:pt>
                <c:pt idx="2">
                  <c:v>134418054</c:v>
                </c:pt>
                <c:pt idx="3">
                  <c:v>93898444</c:v>
                </c:pt>
                <c:pt idx="4">
                  <c:v>92790193</c:v>
                </c:pt>
                <c:pt idx="5">
                  <c:v>48335230</c:v>
                </c:pt>
                <c:pt idx="6">
                  <c:v>46613626</c:v>
                </c:pt>
                <c:pt idx="7">
                  <c:v>45192131</c:v>
                </c:pt>
              </c:numCache>
            </c:numRef>
          </c:bubbleSize>
          <c:bubble3D val="0"/>
          <c:extLst>
            <c:ext xmlns:c15="http://schemas.microsoft.com/office/drawing/2012/chart" uri="{02D57815-91ED-43cb-92C2-25804820EDAC}">
              <c15:datalabelsRange>
                <c15:f>Sheet1!$E$2:$E$10</c15:f>
                <c15:dlblRangeCache>
                  <c:ptCount val="9"/>
                  <c:pt idx="0">
                    <c:v>Isdin</c:v>
                  </c:pt>
                  <c:pt idx="1">
                    <c:v>Neutrogena</c:v>
                  </c:pt>
                  <c:pt idx="2">
                    <c:v>Avene</c:v>
                  </c:pt>
                  <c:pt idx="3">
                    <c:v>Eucerin</c:v>
                  </c:pt>
                  <c:pt idx="4">
                    <c:v>La Roche-Posay</c:v>
                  </c:pt>
                  <c:pt idx="5">
                    <c:v>Vichy</c:v>
                  </c:pt>
                  <c:pt idx="6">
                    <c:v>Photoderm</c:v>
                  </c:pt>
                  <c:pt idx="7">
                    <c:v>Heliocar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4"/>
          <c:min val="24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82C5399-4E03-4401-9FE3-523B741C21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64112B-5610-4F3C-9909-6C40C4E0B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B019B8-B800-43FD-B6EE-E5D6F4469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480339D-5146-458C-A91D-F512B857E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7EE4DD2-8ED6-4F78-9BBF-4A5F768DF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A04583-57A3-4E9E-910E-B0A93EC9FD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14A69CD-E775-445C-9B5A-58712D4DAF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F19EB14-392A-4BA7-BCD3-76AAD93AE2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18.98260000000005</c:v>
                </c:pt>
                <c:pt idx="1">
                  <c:v>632.22529999999995</c:v>
                </c:pt>
                <c:pt idx="2">
                  <c:v>747.31100000000004</c:v>
                </c:pt>
                <c:pt idx="3">
                  <c:v>640.42579999999998</c:v>
                </c:pt>
                <c:pt idx="4">
                  <c:v>596.89359999999999</c:v>
                </c:pt>
                <c:pt idx="5">
                  <c:v>600.24639999999999</c:v>
                </c:pt>
              </c:numCache>
            </c:numRef>
          </c:xVal>
          <c:yVal>
            <c:numRef>
              <c:f>Sheet1!$B$2:$B$7</c:f>
              <c:numCache>
                <c:formatCode>General</c:formatCode>
                <c:ptCount val="6"/>
                <c:pt idx="0">
                  <c:v>0.92200000000000004</c:v>
                </c:pt>
                <c:pt idx="1">
                  <c:v>0.95799999999999996</c:v>
                </c:pt>
                <c:pt idx="2">
                  <c:v>1.26</c:v>
                </c:pt>
                <c:pt idx="3">
                  <c:v>0.95399999999999996</c:v>
                </c:pt>
                <c:pt idx="4">
                  <c:v>0.89300000000000002</c:v>
                </c:pt>
                <c:pt idx="5">
                  <c:v>1.419</c:v>
                </c:pt>
              </c:numCache>
            </c:numRef>
          </c:yVal>
          <c:bubbleSize>
            <c:numRef>
              <c:f>Sheet1!$C$2:$C$7</c:f>
              <c:numCache>
                <c:formatCode>General</c:formatCode>
                <c:ptCount val="6"/>
                <c:pt idx="0">
                  <c:v>137352856</c:v>
                </c:pt>
                <c:pt idx="1">
                  <c:v>70816815</c:v>
                </c:pt>
                <c:pt idx="2">
                  <c:v>56541549</c:v>
                </c:pt>
                <c:pt idx="3">
                  <c:v>23466483</c:v>
                </c:pt>
                <c:pt idx="4">
                  <c:v>21588447</c:v>
                </c:pt>
                <c:pt idx="5">
                  <c:v>17920958</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Heliocare</c:v>
                  </c:pt>
                  <c:pt idx="4">
                    <c:v>Eucerin</c:v>
                  </c:pt>
                  <c:pt idx="5">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7"/>
          <c:min val="47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701BE5-6F0A-4E5A-990C-3BD601805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BDB1CF-49ED-4AE2-A7A8-C33B5D7AD1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2E16554-BA7A-4032-9E20-C4D5AF7B19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E4E4DB4-C7F6-457D-A5C9-B29E94BF5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E86996C-EE9B-4316-8CAA-A48778172F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9C25DD-A2D1-4931-A4F3-067703E79B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E1FA6CF-E928-48DC-809B-F1BB5E770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F331A44-B254-4D97-9528-3764F2141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13380000000001</c:v>
                </c:pt>
                <c:pt idx="1">
                  <c:v>209.15610000000001</c:v>
                </c:pt>
                <c:pt idx="2">
                  <c:v>222.7422</c:v>
                </c:pt>
                <c:pt idx="3">
                  <c:v>577.1653</c:v>
                </c:pt>
                <c:pt idx="4">
                  <c:v>289.72449999999998</c:v>
                </c:pt>
                <c:pt idx="5">
                  <c:v>84.481200000000001</c:v>
                </c:pt>
                <c:pt idx="6">
                  <c:v>506.83350000000002</c:v>
                </c:pt>
                <c:pt idx="7">
                  <c:v>206.30250000000001</c:v>
                </c:pt>
              </c:numCache>
            </c:numRef>
          </c:xVal>
          <c:yVal>
            <c:numRef>
              <c:f>Sheet1!$B$2:$B$9</c:f>
              <c:numCache>
                <c:formatCode>General</c:formatCode>
                <c:ptCount val="8"/>
                <c:pt idx="0">
                  <c:v>1.038</c:v>
                </c:pt>
                <c:pt idx="1">
                  <c:v>0.746</c:v>
                </c:pt>
                <c:pt idx="2">
                  <c:v>0.72599999999999998</c:v>
                </c:pt>
                <c:pt idx="3">
                  <c:v>4.18</c:v>
                </c:pt>
                <c:pt idx="4">
                  <c:v>2.0569999999999999</c:v>
                </c:pt>
                <c:pt idx="5">
                  <c:v>0.41599999999999998</c:v>
                </c:pt>
                <c:pt idx="6">
                  <c:v>6.3529999999999998</c:v>
                </c:pt>
                <c:pt idx="7">
                  <c:v>2.5569999999999999</c:v>
                </c:pt>
              </c:numCache>
            </c:numRef>
          </c:yVal>
          <c:bubbleSize>
            <c:numRef>
              <c:f>Sheet1!$C$2:$C$9</c:f>
              <c:numCache>
                <c:formatCode>General</c:formatCode>
                <c:ptCount val="8"/>
                <c:pt idx="0">
                  <c:v>536202668</c:v>
                </c:pt>
                <c:pt idx="1">
                  <c:v>269083052</c:v>
                </c:pt>
                <c:pt idx="2">
                  <c:v>215531333</c:v>
                </c:pt>
                <c:pt idx="3">
                  <c:v>108131910</c:v>
                </c:pt>
                <c:pt idx="4">
                  <c:v>102115148</c:v>
                </c:pt>
                <c:pt idx="5">
                  <c:v>62392994</c:v>
                </c:pt>
                <c:pt idx="6">
                  <c:v>50910918</c:v>
                </c:pt>
                <c:pt idx="7">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0A2271B-2E1A-4BA8-8AD2-253898C58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067DBAAC-801A-45E6-8DD7-FA0AF76AFD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93AFD84-E8A1-498A-8314-5E5E0110C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D10F9809-AA92-4014-8E05-72BEDF6B5F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2B48762E-9D69-43BD-965B-90E192349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8514DC59-9A57-4680-BE56-FBDF40208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19A2FCB6-3D78-4F80-A522-FB2166359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0D4EB437-23CC-46B1-AA45-0D8565FD9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32.08420000000001</c:v>
                </c:pt>
                <c:pt idx="1">
                  <c:v>632.31629999999996</c:v>
                </c:pt>
                <c:pt idx="2">
                  <c:v>582.01130000000001</c:v>
                </c:pt>
                <c:pt idx="3">
                  <c:v>663.69219999999996</c:v>
                </c:pt>
                <c:pt idx="4">
                  <c:v>752.56579999999997</c:v>
                </c:pt>
                <c:pt idx="5">
                  <c:v>511.63319999999999</c:v>
                </c:pt>
              </c:numCache>
            </c:numRef>
          </c:xVal>
          <c:yVal>
            <c:numRef>
              <c:f>Sheet1!$B$2:$B$7</c:f>
              <c:numCache>
                <c:formatCode>General</c:formatCode>
                <c:ptCount val="6"/>
                <c:pt idx="0">
                  <c:v>0.5</c:v>
                </c:pt>
                <c:pt idx="1">
                  <c:v>2.4620000000000002</c:v>
                </c:pt>
                <c:pt idx="2">
                  <c:v>2.2679999999999998</c:v>
                </c:pt>
                <c:pt idx="3">
                  <c:v>2.3769999999999998</c:v>
                </c:pt>
                <c:pt idx="4">
                  <c:v>5.3550000000000004</c:v>
                </c:pt>
                <c:pt idx="5">
                  <c:v>1</c:v>
                </c:pt>
              </c:numCache>
            </c:numRef>
          </c:yVal>
          <c:bubbleSize>
            <c:numRef>
              <c:f>Sheet1!$C$2:$C$7</c:f>
              <c:numCache>
                <c:formatCode>General</c:formatCode>
                <c:ptCount val="6"/>
                <c:pt idx="0">
                  <c:v>106368391</c:v>
                </c:pt>
                <c:pt idx="1">
                  <c:v>81286153</c:v>
                </c:pt>
                <c:pt idx="2">
                  <c:v>57202400</c:v>
                </c:pt>
                <c:pt idx="3">
                  <c:v>22137452</c:v>
                </c:pt>
                <c:pt idx="4">
                  <c:v>12419594</c:v>
                </c:pt>
                <c:pt idx="5">
                  <c:v>5839270</c:v>
                </c:pt>
              </c:numCache>
            </c:numRef>
          </c:bubbleSize>
          <c:bubble3D val="0"/>
          <c:extLst>
            <c:ext xmlns:c15="http://schemas.microsoft.com/office/drawing/2012/chart" uri="{02D57815-91ED-43cb-92C2-25804820EDAC}">
              <c15:datalabelsRange>
                <c15:f>Sheet1!$E$2:$E$10</c15:f>
                <c15:dlblRangeCache>
                  <c:ptCount val="9"/>
                  <c:pt idx="0">
                    <c:v>Isdin</c:v>
                  </c:pt>
                  <c:pt idx="1">
                    <c:v>Eucerin</c:v>
                  </c:pt>
                  <c:pt idx="2">
                    <c:v>La Roche-Posay</c:v>
                  </c:pt>
                  <c:pt idx="3">
                    <c:v>Heliocare</c:v>
                  </c:pt>
                  <c:pt idx="4">
                    <c:v>Photoderm</c:v>
                  </c:pt>
                  <c:pt idx="5">
                    <c:v>Cetaphil</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3"/>
          <c:min val="40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C9354625-0364-46C8-BE80-B47225220D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4ED6984-D27A-4423-B8A1-EF76EBD8D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EEEB96A4-4379-4B21-B86F-E6A0F8F8D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5FC2835E-E31C-4E57-ACA7-98DD73EB9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B6B1FBB4-0640-4C14-A990-E5B83EFDC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C8F31A50-D38E-4AE2-AED6-AB29225DB1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00047DC8-653C-495B-86B8-71328FB70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DC2F7661-2E77-40CC-8275-C61AC5977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87.48429999999996</c:v>
                </c:pt>
                <c:pt idx="1">
                  <c:v>824.6857</c:v>
                </c:pt>
              </c:numCache>
            </c:numRef>
          </c:xVal>
          <c:yVal>
            <c:numRef>
              <c:f>Sheet1!$B$2:$B$3</c:f>
              <c:numCache>
                <c:formatCode>General</c:formatCode>
                <c:ptCount val="2"/>
                <c:pt idx="0">
                  <c:v>0.879</c:v>
                </c:pt>
                <c:pt idx="1">
                  <c:v>2.84</c:v>
                </c:pt>
              </c:numCache>
            </c:numRef>
          </c:yVal>
          <c:bubbleSize>
            <c:numRef>
              <c:f>Sheet1!$C$2:$C$3</c:f>
              <c:numCache>
                <c:formatCode>General</c:formatCode>
                <c:ptCount val="2"/>
                <c:pt idx="0">
                  <c:v>34448463</c:v>
                </c:pt>
                <c:pt idx="1">
                  <c:v>7277027</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90"/>
          <c:min val="55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0ED553B2-6C14-436D-B340-6B061264C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A4F72AE1-FEFE-4DB5-9316-AC4C12A913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2948445E-7DE2-4892-8FEE-06ED1A0BE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9D34FCA4-B5C3-4255-9257-2545578FE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BF2BCF43-68E1-46E4-85BE-4EB49BD39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6D220BCC-34EB-4D6E-9E03-48A412C3A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5E1E1D44-7108-4916-B78C-80E1F40C2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47194D92-96E7-4397-B832-29D9287686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03049999999999</c:v>
                </c:pt>
                <c:pt idx="1">
                  <c:v>628.96190000000001</c:v>
                </c:pt>
                <c:pt idx="2">
                  <c:v>804.16989999999998</c:v>
                </c:pt>
                <c:pt idx="3">
                  <c:v>700.29290000000003</c:v>
                </c:pt>
                <c:pt idx="4">
                  <c:v>516.58640000000003</c:v>
                </c:pt>
                <c:pt idx="5">
                  <c:v>603.49339999999995</c:v>
                </c:pt>
                <c:pt idx="6">
                  <c:v>447.51420000000002</c:v>
                </c:pt>
                <c:pt idx="7">
                  <c:v>888.16780000000006</c:v>
                </c:pt>
              </c:numCache>
            </c:numRef>
          </c:xVal>
          <c:yVal>
            <c:numRef>
              <c:f>Sheet1!$B$2:$B$9</c:f>
              <c:numCache>
                <c:formatCode>General</c:formatCode>
                <c:ptCount val="8"/>
                <c:pt idx="0">
                  <c:v>1.1970000000000001</c:v>
                </c:pt>
                <c:pt idx="1">
                  <c:v>1.46</c:v>
                </c:pt>
                <c:pt idx="2">
                  <c:v>1.514</c:v>
                </c:pt>
                <c:pt idx="3">
                  <c:v>0.78200000000000003</c:v>
                </c:pt>
                <c:pt idx="4">
                  <c:v>0.78400000000000003</c:v>
                </c:pt>
                <c:pt idx="5">
                  <c:v>0.46500000000000002</c:v>
                </c:pt>
                <c:pt idx="6">
                  <c:v>0.70399999999999996</c:v>
                </c:pt>
                <c:pt idx="7">
                  <c:v>0.879</c:v>
                </c:pt>
              </c:numCache>
            </c:numRef>
          </c:yVal>
          <c:bubbleSize>
            <c:numRef>
              <c:f>Sheet1!$C$2:$C$9</c:f>
              <c:numCache>
                <c:formatCode>General</c:formatCode>
                <c:ptCount val="8"/>
                <c:pt idx="0">
                  <c:v>26487655</c:v>
                </c:pt>
                <c:pt idx="1">
                  <c:v>18058126</c:v>
                </c:pt>
                <c:pt idx="2">
                  <c:v>10496025</c:v>
                </c:pt>
                <c:pt idx="3">
                  <c:v>9653538</c:v>
                </c:pt>
                <c:pt idx="4">
                  <c:v>9608507</c:v>
                </c:pt>
                <c:pt idx="5">
                  <c:v>8407267</c:v>
                </c:pt>
                <c:pt idx="6">
                  <c:v>2911975</c:v>
                </c:pt>
                <c:pt idx="7">
                  <c:v>2900756</c:v>
                </c:pt>
              </c:numCache>
            </c:numRef>
          </c:bubbleSize>
          <c:bubble3D val="0"/>
          <c:extLst>
            <c:ext xmlns:c15="http://schemas.microsoft.com/office/drawing/2012/chart" uri="{02D57815-91ED-43cb-92C2-25804820EDAC}">
              <c15:datalabelsRange>
                <c15:f>Sheet1!$E$2:$E$10</c15:f>
                <c15:dlblRangeCache>
                  <c:ptCount val="9"/>
                  <c:pt idx="0">
                    <c:v>Loreal Paris</c:v>
                  </c:pt>
                  <c:pt idx="1">
                    <c:v>Isdin</c:v>
                  </c:pt>
                  <c:pt idx="2">
                    <c:v>La Roche-Posay</c:v>
                  </c:pt>
                  <c:pt idx="3">
                    <c:v>Eucerin</c:v>
                  </c:pt>
                  <c:pt idx="4">
                    <c:v>Cetaphil</c:v>
                  </c:pt>
                  <c:pt idx="5">
                    <c:v>Avene</c:v>
                  </c:pt>
                  <c:pt idx="6">
                    <c:v>Eclipsol</c:v>
                  </c:pt>
                  <c:pt idx="7">
                    <c:v>Photoderm</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66"/>
          <c:min val="19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2D4BBC0-3F51-49E3-B475-0B54E1C21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B05222-8285-4588-8F21-06D8EF581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337B07A-E7CA-4CDA-9B0D-6ABE552D2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2DFA0FA-E253-4BD4-91D7-D6F73CE317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F290C4B-6CC7-4A90-BA3B-6C1FA8581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D185EEC-DD72-409C-BAE1-647E315198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C03F6E0-5CC1-4AFD-B60E-DCE765CCDE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D230B43-7FF1-48B3-BADC-383CD47ED9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36.27970000000005</c:v>
                </c:pt>
                <c:pt idx="1">
                  <c:v>654.95699999999999</c:v>
                </c:pt>
                <c:pt idx="2">
                  <c:v>300.2527</c:v>
                </c:pt>
              </c:numCache>
            </c:numRef>
          </c:xVal>
          <c:yVal>
            <c:numRef>
              <c:f>Sheet1!$B$2:$B$4</c:f>
              <c:numCache>
                <c:formatCode>General</c:formatCode>
                <c:ptCount val="3"/>
                <c:pt idx="0">
                  <c:v>0.754</c:v>
                </c:pt>
                <c:pt idx="1">
                  <c:v>1.286</c:v>
                </c:pt>
                <c:pt idx="2">
                  <c:v>1.379</c:v>
                </c:pt>
              </c:numCache>
            </c:numRef>
          </c:yVal>
          <c:bubbleSize>
            <c:numRef>
              <c:f>Sheet1!$C$2:$C$4</c:f>
              <c:numCache>
                <c:formatCode>General</c:formatCode>
                <c:ptCount val="3"/>
                <c:pt idx="0">
                  <c:v>6581041</c:v>
                </c:pt>
                <c:pt idx="1">
                  <c:v>4375768</c:v>
                </c:pt>
                <c:pt idx="2">
                  <c:v>4101452</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Eclipso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6"/>
          <c:min val="24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D190A216-32E7-498A-B32B-B4BF385FE0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98B1511-84DF-461B-80D7-248F022EF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841901DD-0826-4AAC-BAFD-AA0288A981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0BE67C7D-DA0E-46D8-BB94-7891F4008F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18300517-B73A-40AE-B192-69CCCFFE7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D9738DE7-4A61-4419-8008-90770AD42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32D5632A-ECEB-4575-8608-8FC42F066E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EC06C169-D6D7-43C0-BC67-7D44CFB6E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738.86839999999995</c:v>
                </c:pt>
                <c:pt idx="1">
                  <c:v>1043.2023999999999</c:v>
                </c:pt>
                <c:pt idx="2">
                  <c:v>636.08339999999998</c:v>
                </c:pt>
              </c:numCache>
            </c:numRef>
          </c:xVal>
          <c:yVal>
            <c:numRef>
              <c:f>Sheet1!$B$2:$B$4</c:f>
              <c:numCache>
                <c:formatCode>General</c:formatCode>
                <c:ptCount val="3"/>
                <c:pt idx="0">
                  <c:v>0.89600000000000002</c:v>
                </c:pt>
                <c:pt idx="1">
                  <c:v>1.7969999999999999</c:v>
                </c:pt>
                <c:pt idx="2">
                  <c:v>1.7050000000000001</c:v>
                </c:pt>
              </c:numCache>
            </c:numRef>
          </c:yVal>
          <c:bubbleSize>
            <c:numRef>
              <c:f>Sheet1!$C$2:$C$4</c:f>
              <c:numCache>
                <c:formatCode>General</c:formatCode>
                <c:ptCount val="3"/>
                <c:pt idx="0">
                  <c:v>23557341</c:v>
                </c:pt>
                <c:pt idx="1">
                  <c:v>4051798</c:v>
                </c:pt>
                <c:pt idx="2">
                  <c:v>2243466</c:v>
                </c:pt>
              </c:numCache>
            </c:numRef>
          </c:bubbleSize>
          <c:bubble3D val="0"/>
          <c:extLst>
            <c:ext xmlns:c15="http://schemas.microsoft.com/office/drawing/2012/chart" uri="{02D57815-91ED-43cb-92C2-25804820EDAC}">
              <c15:datalabelsRange>
                <c15:f>Sheet1!$E$2:$E$10</c15:f>
                <c15:dlblRangeCache>
                  <c:ptCount val="9"/>
                  <c:pt idx="0">
                    <c:v>Photoderm</c:v>
                  </c:pt>
                  <c:pt idx="1">
                    <c:v>La Roche-Posay</c:v>
                  </c:pt>
                  <c:pt idx="2">
                    <c:v>Genov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52"/>
          <c:min val="50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1E17C1F9-AFD0-4505-8488-4323A8B32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0A536CBB-6588-41ED-B89F-D72C7B2EA7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7EAF79C1-9711-4B04-BEAD-745860B02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B57B548C-FE14-425F-BE0D-9A5FE9A92D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60C81A9E-ABF9-4FB7-B70A-3F5C9E2A13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EB2DC27B-5135-4EF5-90F7-05A46F81A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423F4F87-E2D4-485B-BBED-9289ABFE4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4B7F056C-A822-4D65-A5C6-96DB16CA40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80.52710000000002</c:v>
                </c:pt>
              </c:numCache>
            </c:numRef>
          </c:xVal>
          <c:yVal>
            <c:numRef>
              <c:f>Sheet1!$B$2:$B$2</c:f>
              <c:numCache>
                <c:formatCode>General</c:formatCode>
                <c:ptCount val="1"/>
                <c:pt idx="0">
                  <c:v>1</c:v>
                </c:pt>
              </c:numCache>
            </c:numRef>
          </c:yVal>
          <c:bubbleSize>
            <c:numRef>
              <c:f>Sheet1!$C$2:$C$2</c:f>
              <c:numCache>
                <c:formatCode>General</c:formatCode>
                <c:ptCount val="1"/>
                <c:pt idx="0">
                  <c:v>35235613</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77"/>
          <c:min val="38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747F99D4-2B43-42E9-8A04-15901A509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71484CB4-48B4-433B-BC1A-1B51C5A4FD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4BBA97D8-49CA-44F0-B4C6-2432C6AAF5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87BBD93E-686E-4052-916E-E97967243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B44BF6B8-7F7F-4DEF-AE48-A20399156E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10A8BCD0-0308-4A38-A942-30B4B6F04C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73817430-DF62-42F2-9E83-A62A58D9A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6A09B62F-3A80-4AA1-9A2C-67FE0BDB8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57.81979999999999</c:v>
                </c:pt>
                <c:pt idx="1">
                  <c:v>75.912099999999995</c:v>
                </c:pt>
              </c:numCache>
            </c:numRef>
          </c:xVal>
          <c:yVal>
            <c:numRef>
              <c:f>Sheet1!$B$2:$B$3</c:f>
              <c:numCache>
                <c:formatCode>General</c:formatCode>
                <c:ptCount val="2"/>
                <c:pt idx="0">
                  <c:v>1.2210000000000001</c:v>
                </c:pt>
                <c:pt idx="1">
                  <c:v>0.68500000000000005</c:v>
                </c:pt>
              </c:numCache>
            </c:numRef>
          </c:yVal>
          <c:bubbleSize>
            <c:numRef>
              <c:f>Sheet1!$C$2:$C$3</c:f>
              <c:numCache>
                <c:formatCode>General</c:formatCode>
                <c:ptCount val="2"/>
                <c:pt idx="0">
                  <c:v>50721412</c:v>
                </c:pt>
                <c:pt idx="1">
                  <c:v>18676352</c:v>
                </c:pt>
              </c:numCache>
            </c:numRef>
          </c:bubbleSize>
          <c:bubble3D val="0"/>
          <c:extLst>
            <c:ext xmlns:c15="http://schemas.microsoft.com/office/drawing/2012/chart" uri="{02D57815-91ED-43cb-92C2-25804820EDAC}">
              <c15:datalabelsRange>
                <c15:f>Sheet1!$E$2:$E$10</c15:f>
                <c15:dlblRangeCache>
                  <c:ptCount val="9"/>
                  <c:pt idx="0">
                    <c:v>Banana Boat</c:v>
                  </c:pt>
                  <c:pt idx="1">
                    <c:v>Caribbean Beach</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9"/>
          <c:min val="6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BA69D4-17B4-4517-A196-70FB7F293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EE48BB-A1C9-4E0C-90BB-4A65EE643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2F37AB9-4427-429E-ACA6-5E86B07D5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AA79FD9-B05C-41F6-8AC9-ADB473679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63BBCBD-E20F-4679-ACE0-3AB05E48B2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B6FE842-BC3C-41F4-9320-75B616366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7DE7990-EFF1-4D94-AF67-08378D3F6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BDA858-C2DF-4738-9F9B-47FD81FE9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02.13130000000001</c:v>
                </c:pt>
                <c:pt idx="1">
                  <c:v>277.94549999999998</c:v>
                </c:pt>
              </c:numCache>
            </c:numRef>
          </c:xVal>
          <c:yVal>
            <c:numRef>
              <c:f>Sheet1!$B$2:$B$3</c:f>
              <c:numCache>
                <c:formatCode>General</c:formatCode>
                <c:ptCount val="2"/>
                <c:pt idx="0">
                  <c:v>0.97499999999999998</c:v>
                </c:pt>
                <c:pt idx="1">
                  <c:v>1.0680000000000001</c:v>
                </c:pt>
              </c:numCache>
            </c:numRef>
          </c:yVal>
          <c:bubbleSize>
            <c:numRef>
              <c:f>Sheet1!$C$2:$C$3</c:f>
              <c:numCache>
                <c:formatCode>General</c:formatCode>
                <c:ptCount val="2"/>
                <c:pt idx="0">
                  <c:v>74697818</c:v>
                </c:pt>
                <c:pt idx="1">
                  <c:v>29684024</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4"/>
          <c:min val="16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D411E46-1A71-4355-BD0D-EB4AFAB427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76E9A607-6046-42F0-9F37-B4DAB86C4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A395CD5F-BD27-4277-AD57-F56CD61752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C41686D7-BE4E-408A-BC06-AAA1F3BBB3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F42D7F63-0690-4E01-AD61-D68471236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8967BA7B-D570-4A5D-B7B0-EB0C026E0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E7BB8C8C-E87C-42EE-8B90-D619F836E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6E1F3ED8-2FF7-4FEC-8430-C34EB8146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90.40649999999999</c:v>
                </c:pt>
              </c:numCache>
            </c:numRef>
          </c:xVal>
          <c:yVal>
            <c:numRef>
              <c:f>Sheet1!$B$2:$B$2</c:f>
              <c:numCache>
                <c:formatCode>General</c:formatCode>
                <c:ptCount val="1"/>
                <c:pt idx="0">
                  <c:v>0.995</c:v>
                </c:pt>
              </c:numCache>
            </c:numRef>
          </c:yVal>
          <c:bubbleSize>
            <c:numRef>
              <c:f>Sheet1!$C$2:$C$2</c:f>
              <c:numCache>
                <c:formatCode>General</c:formatCode>
                <c:ptCount val="1"/>
                <c:pt idx="0">
                  <c:v>31430026</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8"/>
          <c:min val="15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3BE352B-5866-45D1-819D-52BD96AAF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B37D0AF8-ED4C-4892-8AEE-61A1A1C66B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9DF85B12-A800-4C98-94B6-82D0C60527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E52F11F3-1F68-4122-8690-1D3E9A8F7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ED6E5BF9-6B75-49BF-8F66-304BDBECBF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DA30B2BE-3398-4B39-9C9F-1D7195E33C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637D98EC-F5D1-453F-8241-07F4DF2840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5D93899D-13CB-4DE4-A0F2-2AEBEEC7B3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0.27610000000001</c:v>
                </c:pt>
              </c:numCache>
            </c:numRef>
          </c:xVal>
          <c:yVal>
            <c:numRef>
              <c:f>Sheet1!$B$2:$B$2</c:f>
              <c:numCache>
                <c:formatCode>General</c:formatCode>
                <c:ptCount val="1"/>
                <c:pt idx="0">
                  <c:v>1</c:v>
                </c:pt>
              </c:numCache>
            </c:numRef>
          </c:yVal>
          <c:bubbleSize>
            <c:numRef>
              <c:f>Sheet1!$C$2:$C$2</c:f>
              <c:numCache>
                <c:formatCode>General</c:formatCode>
                <c:ptCount val="1"/>
                <c:pt idx="0">
                  <c:v>1672957</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2"/>
          <c:min val="16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0332FC-1B22-45E2-865C-32A89FAB7E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15C7B2-C989-456F-8D48-CC14256CE0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D571585-C39C-4ED4-9576-B070A5C1A5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94736EB-AB9F-4B39-9C99-AEA34D887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4CC315-BDB1-4DC4-907F-C88658846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3BB0D19-4019-46A4-9274-B890BBCB0B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C322DF-82C9-4BF4-B8A2-B656A0A33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A12D8DE-F077-4C7D-B8A6-28511A9B8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0.78219999999999</c:v>
                </c:pt>
                <c:pt idx="1">
                  <c:v>613.25300000000004</c:v>
                </c:pt>
                <c:pt idx="2">
                  <c:v>619.50990000000002</c:v>
                </c:pt>
                <c:pt idx="3">
                  <c:v>217.92179999999999</c:v>
                </c:pt>
                <c:pt idx="4">
                  <c:v>219.85040000000001</c:v>
                </c:pt>
                <c:pt idx="5">
                  <c:v>655.54369999999994</c:v>
                </c:pt>
                <c:pt idx="6">
                  <c:v>667.63379999999995</c:v>
                </c:pt>
                <c:pt idx="7">
                  <c:v>207.99539999999999</c:v>
                </c:pt>
              </c:numCache>
            </c:numRef>
          </c:xVal>
          <c:yVal>
            <c:numRef>
              <c:f>Sheet1!$B$2:$B$9</c:f>
              <c:numCache>
                <c:formatCode>General</c:formatCode>
                <c:ptCount val="8"/>
                <c:pt idx="0">
                  <c:v>0.72199999999999998</c:v>
                </c:pt>
                <c:pt idx="1">
                  <c:v>2.7679999999999998</c:v>
                </c:pt>
                <c:pt idx="2">
                  <c:v>4.3280000000000003</c:v>
                </c:pt>
                <c:pt idx="3">
                  <c:v>0.499</c:v>
                </c:pt>
                <c:pt idx="4">
                  <c:v>0.51400000000000001</c:v>
                </c:pt>
                <c:pt idx="5">
                  <c:v>3.7610000000000001</c:v>
                </c:pt>
                <c:pt idx="6">
                  <c:v>3.2250000000000001</c:v>
                </c:pt>
                <c:pt idx="7">
                  <c:v>1.611</c:v>
                </c:pt>
              </c:numCache>
            </c:numRef>
          </c:yVal>
          <c:bubbleSize>
            <c:numRef>
              <c:f>Sheet1!$C$2:$C$9</c:f>
              <c:numCache>
                <c:formatCode>General</c:formatCode>
                <c:ptCount val="8"/>
                <c:pt idx="0">
                  <c:v>778226782</c:v>
                </c:pt>
                <c:pt idx="1">
                  <c:v>629447145</c:v>
                </c:pt>
                <c:pt idx="2">
                  <c:v>364879575</c:v>
                </c:pt>
                <c:pt idx="3">
                  <c:v>349000701</c:v>
                </c:pt>
                <c:pt idx="4">
                  <c:v>303068598</c:v>
                </c:pt>
                <c:pt idx="5">
                  <c:v>263235523</c:v>
                </c:pt>
                <c:pt idx="6">
                  <c:v>228911615</c:v>
                </c:pt>
                <c:pt idx="7">
                  <c:v>13146973</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La Roche-Posay</c:v>
                  </c:pt>
                  <c:pt idx="3">
                    <c:v>Hawaiian Tropic</c:v>
                  </c:pt>
                  <c:pt idx="4">
                    <c:v>Banana Boat</c:v>
                  </c:pt>
                  <c:pt idx="5">
                    <c:v>Eucerin</c:v>
                  </c:pt>
                  <c:pt idx="6">
                    <c:v>Avene</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01"/>
          <c:min val="16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4DB808AF-C795-45E8-B9F9-FA154B2E33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B242F7DB-1E09-4C99-B021-F8D4F3C5C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B951D63A-4B8E-42D7-BAEC-20DBE40F4A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88303A66-2000-497E-80B6-C70CCB465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168A7361-11AE-441A-BD92-381A1AA9A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78AD503B-0483-4B89-8C7B-2DBE3926A5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5260B575-627B-4D5F-9818-ABAB3A925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0D4A3062-EFD4-4B41-A61D-997E4F86D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09.32509999999999</c:v>
                </c:pt>
                <c:pt idx="1">
                  <c:v>393.94940000000003</c:v>
                </c:pt>
                <c:pt idx="2">
                  <c:v>320.19260000000003</c:v>
                </c:pt>
              </c:numCache>
            </c:numRef>
          </c:xVal>
          <c:yVal>
            <c:numRef>
              <c:f>Sheet1!$B$2:$B$4</c:f>
              <c:numCache>
                <c:formatCode>General</c:formatCode>
                <c:ptCount val="3"/>
                <c:pt idx="0">
                  <c:v>0.60199999999999998</c:v>
                </c:pt>
                <c:pt idx="1">
                  <c:v>2.2109999999999999</c:v>
                </c:pt>
                <c:pt idx="2">
                  <c:v>2.2650000000000001</c:v>
                </c:pt>
              </c:numCache>
            </c:numRef>
          </c:yVal>
          <c:bubbleSize>
            <c:numRef>
              <c:f>Sheet1!$C$2:$C$4</c:f>
              <c:numCache>
                <c:formatCode>General</c:formatCode>
                <c:ptCount val="3"/>
                <c:pt idx="0">
                  <c:v>792505</c:v>
                </c:pt>
                <c:pt idx="1">
                  <c:v>599985</c:v>
                </c:pt>
                <c:pt idx="2">
                  <c:v>319232</c:v>
                </c:pt>
              </c:numCache>
            </c:numRef>
          </c:bubbleSize>
          <c:bubble3D val="0"/>
          <c:extLst>
            <c:ext xmlns:c15="http://schemas.microsoft.com/office/drawing/2012/chart" uri="{02D57815-91ED-43cb-92C2-25804820EDAC}">
              <c15:datalabelsRange>
                <c15:f>Sheet1!$E$2:$E$10</c15:f>
                <c15:dlblRangeCache>
                  <c:ptCount val="9"/>
                  <c:pt idx="0">
                    <c:v>Banana Boat</c:v>
                  </c:pt>
                  <c:pt idx="1">
                    <c:v>Australian Gold</c:v>
                  </c:pt>
                  <c:pt idx="2">
                    <c:v>Ocean Potion</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3"/>
          <c:min val="16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A85928-0EDE-415F-97CF-3DB37063A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0CCB75F4-8902-4700-BADD-F92A46991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D30E531-BD7D-4DB8-B5EE-86B22AA90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AF61FAA-CBE8-4B37-A9FD-71CD7709F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2AE8261-F28B-4C51-A794-4A056A09E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DD49BC0-B7A8-4632-A280-5B4D76778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E9DD874-78D6-4413-9B25-94921BBCF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FCC2193-97A3-4070-BE3B-149A2201D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55.99919999999997</c:v>
                </c:pt>
              </c:numCache>
            </c:numRef>
          </c:xVal>
          <c:yVal>
            <c:numRef>
              <c:f>Sheet1!$B$2:$B$2</c:f>
              <c:numCache>
                <c:formatCode>General</c:formatCode>
                <c:ptCount val="1"/>
                <c:pt idx="0">
                  <c:v>1</c:v>
                </c:pt>
              </c:numCache>
            </c:numRef>
          </c:yVal>
          <c:bubbleSize>
            <c:numRef>
              <c:f>Sheet1!$C$2:$C$2</c:f>
              <c:numCache>
                <c:formatCode>General</c:formatCode>
                <c:ptCount val="1"/>
                <c:pt idx="0">
                  <c:v>12520547</c:v>
                </c:pt>
              </c:numCache>
            </c:numRef>
          </c:bubbleSize>
          <c:bubble3D val="0"/>
          <c:extLst>
            <c:ext xmlns:c15="http://schemas.microsoft.com/office/drawing/2012/chart" uri="{02D57815-91ED-43cb-92C2-25804820EDAC}">
              <c15:datalabelsRange>
                <c15:f>Sheet1!$E$2:$E$10</c15:f>
                <c15:dlblRangeCache>
                  <c:ptCount val="9"/>
                  <c:pt idx="0">
                    <c:v>Helio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7"/>
          <c:min val="44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2A66E27-CAB8-402C-86E3-90EAEDA04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A724998-34EF-4274-8582-AE8E1494F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FC4B7F9-53DA-4180-8625-943F2C7473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E7F0469-3439-4C59-995F-5CD52E6CF7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6966004-1D0D-48B1-BDE1-91CB3C85D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D280172-6D4F-483D-9D02-EF388D850D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5C9B199-03C2-4C78-B32D-9B217F962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056FE9C-44E8-4683-88B2-83B5CC2BE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95.63639999999998</c:v>
                </c:pt>
              </c:numCache>
            </c:numRef>
          </c:xVal>
          <c:yVal>
            <c:numRef>
              <c:f>Sheet1!$B$2:$B$2</c:f>
              <c:numCache>
                <c:formatCode>General</c:formatCode>
                <c:ptCount val="1"/>
                <c:pt idx="0">
                  <c:v>2.0259999999999998</c:v>
                </c:pt>
              </c:numCache>
            </c:numRef>
          </c:yVal>
          <c:bubbleSize>
            <c:numRef>
              <c:f>Sheet1!$C$2:$C$2</c:f>
              <c:numCache>
                <c:formatCode>General</c:formatCode>
                <c:ptCount val="1"/>
                <c:pt idx="0">
                  <c:v>21760</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5"/>
          <c:min val="31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789E717E-C11C-4944-96E7-9CCCC3221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57C1E2E7-E8C6-4030-B2C8-C981BFDC3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EE2954B6-1B76-435C-9DF5-B838F7DC9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242BAF5-6B03-4DB9-B6C7-6ED0C0C606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E5D4E33-FE48-4115-A155-A4C15BAFE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A207E96-622E-490F-AE09-75A361FC4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652A5279-0A55-405D-9FDB-994F14CD8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35119FF3-8844-41F5-B9BE-F352632A1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08.18990000000002</c:v>
                </c:pt>
                <c:pt idx="1">
                  <c:v>274.72609999999997</c:v>
                </c:pt>
                <c:pt idx="2">
                  <c:v>69.441400000000002</c:v>
                </c:pt>
                <c:pt idx="3">
                  <c:v>281.73669999999998</c:v>
                </c:pt>
                <c:pt idx="4">
                  <c:v>195.4134</c:v>
                </c:pt>
                <c:pt idx="5">
                  <c:v>79.343900000000005</c:v>
                </c:pt>
              </c:numCache>
            </c:numRef>
          </c:xVal>
          <c:yVal>
            <c:numRef>
              <c:f>Sheet1!$B$2:$B$7</c:f>
              <c:numCache>
                <c:formatCode>General</c:formatCode>
                <c:ptCount val="6"/>
                <c:pt idx="0">
                  <c:v>2.036</c:v>
                </c:pt>
                <c:pt idx="1">
                  <c:v>0.70899999999999996</c:v>
                </c:pt>
                <c:pt idx="2">
                  <c:v>0.371</c:v>
                </c:pt>
                <c:pt idx="3">
                  <c:v>0.79500000000000004</c:v>
                </c:pt>
                <c:pt idx="4">
                  <c:v>2.9380000000000002</c:v>
                </c:pt>
                <c:pt idx="5">
                  <c:v>0.39300000000000002</c:v>
                </c:pt>
              </c:numCache>
            </c:numRef>
          </c:yVal>
          <c:bubbleSize>
            <c:numRef>
              <c:f>Sheet1!$C$2:$C$7</c:f>
              <c:numCache>
                <c:formatCode>General</c:formatCode>
                <c:ptCount val="6"/>
                <c:pt idx="0">
                  <c:v>76293336</c:v>
                </c:pt>
                <c:pt idx="1">
                  <c:v>27395964</c:v>
                </c:pt>
                <c:pt idx="2">
                  <c:v>10560365</c:v>
                </c:pt>
                <c:pt idx="3">
                  <c:v>7933143</c:v>
                </c:pt>
                <c:pt idx="4">
                  <c:v>6690760</c:v>
                </c:pt>
                <c:pt idx="5">
                  <c:v>4749286</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Caribbean Beach</c:v>
                  </c:pt>
                  <c:pt idx="3">
                    <c:v>Banana Boat</c:v>
                  </c:pt>
                  <c:pt idx="4">
                    <c:v>Garnier</c:v>
                  </c:pt>
                  <c:pt idx="5">
                    <c:v>Nuvel</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0"/>
          <c:min val="5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EB1A41C8-6802-4FF4-8493-988B958F6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C31751C4-5F05-4DA3-824A-FD7F56A5F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01BFF427-ECE1-45E6-B30D-68C080C320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10061124-A648-4EC6-8D00-B8AED8A64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EF7B602D-8DCE-4010-A5E8-B3C81954B1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70AE2FAF-4832-4847-BC26-EDCFCB3BB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8721CB47-97F5-412A-B914-DE43CD1ED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086AC220-393B-46B6-B47A-8A497D5E6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13.48149999999998</c:v>
                </c:pt>
                <c:pt idx="1">
                  <c:v>342.19639999999998</c:v>
                </c:pt>
              </c:numCache>
            </c:numRef>
          </c:xVal>
          <c:yVal>
            <c:numRef>
              <c:f>Sheet1!$B$2:$B$3</c:f>
              <c:numCache>
                <c:formatCode>General</c:formatCode>
                <c:ptCount val="2"/>
                <c:pt idx="0">
                  <c:v>0.99299999999999999</c:v>
                </c:pt>
                <c:pt idx="1">
                  <c:v>0</c:v>
                </c:pt>
              </c:numCache>
            </c:numRef>
          </c:yVal>
          <c:bubbleSize>
            <c:numRef>
              <c:f>Sheet1!$C$2:$C$3</c:f>
              <c:numCache>
                <c:formatCode>General</c:formatCode>
                <c:ptCount val="2"/>
                <c:pt idx="0">
                  <c:v>5359907</c:v>
                </c:pt>
                <c:pt idx="1">
                  <c:v>38326</c:v>
                </c:pt>
              </c:numCache>
            </c:numRef>
          </c:bubbleSize>
          <c:bubble3D val="0"/>
          <c:extLst>
            <c:ext xmlns:c15="http://schemas.microsoft.com/office/drawing/2012/chart" uri="{02D57815-91ED-43cb-92C2-25804820EDAC}">
              <c15:datalabelsRange>
                <c15:f>Sheet1!$E$2:$E$10</c15:f>
                <c15:dlblRangeCache>
                  <c:ptCount val="9"/>
                  <c:pt idx="0">
                    <c:v>Nivea</c:v>
                  </c:pt>
                  <c:pt idx="1">
                    <c:v>Banana Boat</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11"/>
          <c:min val="25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200CC235-5EE6-42F8-A6A8-D4AD0479E7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CA-4C16-90F6-A0D9A3D8DA8E}"/>
                </c:ext>
              </c:extLst>
            </c:dLbl>
            <c:dLbl>
              <c:idx val="2"/>
              <c:tx>
                <c:rich>
                  <a:bodyPr/>
                  <a:lstStyle/>
                  <a:p>
                    <a:fld id="{DB4D019F-1CB0-4DE1-AB18-D51CBE08AB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B3313EFF-9036-4613-A997-BB5FA6B813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DE6DC378-740C-4A97-9178-E264AD433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5EEFD481-B1DD-4583-933D-2730E0D6C0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ED3498BF-9BAA-4228-9CC8-15317CB8E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9EFFBCA9-1E4C-461A-95E7-1F87AB86DA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A18E2814-3850-4970-8A32-768C8AD78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37.60390000000001</c:v>
                </c:pt>
              </c:numCache>
            </c:numRef>
          </c:xVal>
          <c:yVal>
            <c:numRef>
              <c:f>Sheet1!$B$2:$B$2</c:f>
              <c:numCache>
                <c:formatCode>General</c:formatCode>
                <c:ptCount val="1"/>
                <c:pt idx="0">
                  <c:v>0.98399999999999999</c:v>
                </c:pt>
              </c:numCache>
            </c:numRef>
          </c:yVal>
          <c:bubbleSize>
            <c:numRef>
              <c:f>Sheet1!$C$2:$C$2</c:f>
              <c:numCache>
                <c:formatCode>General</c:formatCode>
                <c:ptCount val="1"/>
                <c:pt idx="0">
                  <c:v>30352613</c:v>
                </c:pt>
              </c:numCache>
            </c:numRef>
          </c:bubbleSize>
          <c:bubble3D val="0"/>
          <c:extLst>
            <c:ext xmlns:c15="http://schemas.microsoft.com/office/drawing/2012/chart" uri="{02D57815-91ED-43cb-92C2-25804820EDAC}">
              <c15:datalabelsRange>
                <c15:f>Sheet1!$E$2:$E$10</c15:f>
                <c15:dlblRangeCache>
                  <c:ptCount val="9"/>
                  <c:pt idx="0">
                    <c:v>Nivea</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05"/>
          <c:min val="27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BE61ED-4629-4A83-A461-704C99C20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D646D82-FF61-4EBC-945B-B1D3AD3D3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9389D4A-3AEE-4FB7-97B6-1AD16B0F1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4669B90-28A8-4096-9EE4-E30FD3AE9A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DCB2956-92E0-41CA-9F18-A6D60D0A9E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33EBFCC-C2A2-4BC4-AA5B-FB4A05396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A663E33-AF3F-4306-8FFD-9C15D1CC4C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1E3AF62-3383-4B67-8140-0AF8B18546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47.43469999999999</c:v>
                </c:pt>
                <c:pt idx="1">
                  <c:v>268.28949999999998</c:v>
                </c:pt>
                <c:pt idx="2">
                  <c:v>151.3416</c:v>
                </c:pt>
                <c:pt idx="3">
                  <c:v>282.38249999999999</c:v>
                </c:pt>
              </c:numCache>
            </c:numRef>
          </c:xVal>
          <c:yVal>
            <c:numRef>
              <c:f>Sheet1!$B$2:$B$5</c:f>
              <c:numCache>
                <c:formatCode>General</c:formatCode>
                <c:ptCount val="4"/>
                <c:pt idx="0">
                  <c:v>0.91800000000000004</c:v>
                </c:pt>
                <c:pt idx="1">
                  <c:v>0.79100000000000004</c:v>
                </c:pt>
                <c:pt idx="2">
                  <c:v>0.81599999999999995</c:v>
                </c:pt>
                <c:pt idx="3">
                  <c:v>6.8179999999999996</c:v>
                </c:pt>
              </c:numCache>
            </c:numRef>
          </c:yVal>
          <c:bubbleSize>
            <c:numRef>
              <c:f>Sheet1!$C$2:$C$5</c:f>
              <c:numCache>
                <c:formatCode>General</c:formatCode>
                <c:ptCount val="4"/>
                <c:pt idx="0">
                  <c:v>75533658</c:v>
                </c:pt>
                <c:pt idx="1">
                  <c:v>40135848</c:v>
                </c:pt>
                <c:pt idx="2">
                  <c:v>26641268</c:v>
                </c:pt>
                <c:pt idx="3">
                  <c:v>530032</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9"/>
          <c:min val="12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5508D7C-06AD-4099-B4E4-9686373DD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C7C8CA30-B23B-4879-A07F-DFC80E6A5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84E5666E-2F36-48BC-8CAB-6FAF26ED2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42FC0E9F-E3A6-4372-9651-BD334E98E3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4AC85993-15A0-4B37-B3E7-3920F5F569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421ED5D5-F90B-4174-AD86-5905978E6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B4755ED2-3FE6-49D2-B378-F24C3EDDB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B2CDF83D-2E5D-4607-B2AC-57B35837F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25.98270000000002</c:v>
                </c:pt>
                <c:pt idx="1">
                  <c:v>412.82</c:v>
                </c:pt>
                <c:pt idx="2">
                  <c:v>264.61829999999998</c:v>
                </c:pt>
              </c:numCache>
            </c:numRef>
          </c:xVal>
          <c:yVal>
            <c:numRef>
              <c:f>Sheet1!$B$2:$B$4</c:f>
              <c:numCache>
                <c:formatCode>General</c:formatCode>
                <c:ptCount val="3"/>
                <c:pt idx="0">
                  <c:v>0.91300000000000003</c:v>
                </c:pt>
                <c:pt idx="1">
                  <c:v>4.5359999999999996</c:v>
                </c:pt>
                <c:pt idx="2">
                  <c:v>0.65800000000000003</c:v>
                </c:pt>
              </c:numCache>
            </c:numRef>
          </c:yVal>
          <c:bubbleSize>
            <c:numRef>
              <c:f>Sheet1!$C$2:$C$4</c:f>
              <c:numCache>
                <c:formatCode>General</c:formatCode>
                <c:ptCount val="3"/>
                <c:pt idx="0">
                  <c:v>14610870</c:v>
                </c:pt>
                <c:pt idx="1">
                  <c:v>1969977</c:v>
                </c:pt>
                <c:pt idx="2">
                  <c:v>377875</c:v>
                </c:pt>
              </c:numCache>
            </c:numRef>
          </c:bubbleSize>
          <c:bubble3D val="0"/>
          <c:extLst>
            <c:ext xmlns:c15="http://schemas.microsoft.com/office/drawing/2012/chart" uri="{02D57815-91ED-43cb-92C2-25804820EDAC}">
              <c15:datalabelsRange>
                <c15:f>Sheet1!$E$2:$E$10</c15:f>
                <c15:dlblRangeCache>
                  <c:ptCount val="9"/>
                  <c:pt idx="0">
                    <c:v>Banana Boat</c:v>
                  </c:pt>
                  <c:pt idx="1">
                    <c:v>Mustela</c:v>
                  </c:pt>
                  <c:pt idx="2">
                    <c:v>Australian Gold</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5"/>
          <c:min val="21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BAD9C9E0-CE3C-4DEE-9964-D674490DD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0228E141-55EB-4A40-9974-67D16AC21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4C579D28-E27B-46CE-AE52-BE323229B8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77C10FF7-E204-4F07-9659-240C4A8CA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A68B1182-457C-400A-AC55-BACDFEEFD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017D7384-C3B4-433D-9FAF-722EED23C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B8670F11-5E9C-4C68-93DC-00BA1295E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9A06B0D1-A88C-4064-AA99-C28B5ADF9C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34.5549</c:v>
                </c:pt>
              </c:numCache>
            </c:numRef>
          </c:xVal>
          <c:yVal>
            <c:numRef>
              <c:f>Sheet1!$B$2:$B$2</c:f>
              <c:numCache>
                <c:formatCode>General</c:formatCode>
                <c:ptCount val="1"/>
                <c:pt idx="0">
                  <c:v>0.80300000000000005</c:v>
                </c:pt>
              </c:numCache>
            </c:numRef>
          </c:yVal>
          <c:bubbleSize>
            <c:numRef>
              <c:f>Sheet1!$C$2:$C$2</c:f>
              <c:numCache>
                <c:formatCode>General</c:formatCode>
                <c:ptCount val="1"/>
                <c:pt idx="0">
                  <c:v>3247882</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1"/>
          <c:min val="18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2E7BC856-439E-4D0F-9E0A-107EE4BD5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CA-4C16-90F6-A0D9A3D8DA8E}"/>
                </c:ext>
              </c:extLst>
            </c:dLbl>
            <c:dLbl>
              <c:idx val="2"/>
              <c:tx>
                <c:rich>
                  <a:bodyPr/>
                  <a:lstStyle/>
                  <a:p>
                    <a:fld id="{9D7B0790-A728-453D-B913-E5712E791D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BE4E7FCC-F88F-4DD2-AE71-0C10EB7CB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098080D9-64A3-4AC5-9081-66C8DAC89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349CFC47-AFE9-4F61-85CA-855D2F0B6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6483C976-B57C-4E8D-AA70-87ADFA26D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FB97AE8A-EAC4-4927-85ED-5B96D63D6D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BB2B08DB-395B-4E28-9327-B3675A2FA9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21.38740000000001</c:v>
                </c:pt>
              </c:numCache>
            </c:numRef>
          </c:xVal>
          <c:yVal>
            <c:numRef>
              <c:f>Sheet1!$B$2:$B$2</c:f>
              <c:numCache>
                <c:formatCode>General</c:formatCode>
                <c:ptCount val="1"/>
                <c:pt idx="0">
                  <c:v>0.94599999999999995</c:v>
                </c:pt>
              </c:numCache>
            </c:numRef>
          </c:yVal>
          <c:bubbleSize>
            <c:numRef>
              <c:f>Sheet1!$C$2:$C$2</c:f>
              <c:numCache>
                <c:formatCode>General</c:formatCode>
                <c:ptCount val="1"/>
                <c:pt idx="0">
                  <c:v>73722</c:v>
                </c:pt>
              </c:numCache>
            </c:numRef>
          </c:bubbleSize>
          <c:bubble3D val="0"/>
          <c:extLst>
            <c:ext xmlns:c15="http://schemas.microsoft.com/office/drawing/2012/chart" uri="{02D57815-91ED-43cb-92C2-25804820EDAC}">
              <c15:datalabelsRange>
                <c15:f>Sheet1!$E$2:$E$10</c15:f>
                <c15:dlblRangeCache>
                  <c:ptCount val="9"/>
                  <c:pt idx="0">
                    <c:v>Mustela</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6"/>
          <c:min val="17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9EED24E-E840-441A-850F-8082EE5715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6E709CC-9B3C-4AF4-BCC9-A8FD691310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93E06BE-18DB-4461-A607-45E4EA4E6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D3D311F-5EB8-4E34-B3A3-6B154952C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C7130C-0ECE-47FF-90DA-079AE9328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FA34643-3CD2-4C55-8359-BF9BCBBC8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7D0FB82-89CA-4EC0-8469-365368705F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26F888A-CF6F-420B-BAE7-C24AC03FE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2.66800000000001</c:v>
                </c:pt>
                <c:pt idx="1">
                  <c:v>612.90509999999995</c:v>
                </c:pt>
                <c:pt idx="2">
                  <c:v>219.12639999999999</c:v>
                </c:pt>
                <c:pt idx="3">
                  <c:v>629.18399999999997</c:v>
                </c:pt>
                <c:pt idx="4">
                  <c:v>220.91210000000001</c:v>
                </c:pt>
                <c:pt idx="5">
                  <c:v>665.37490000000003</c:v>
                </c:pt>
                <c:pt idx="6">
                  <c:v>679.58199999999999</c:v>
                </c:pt>
                <c:pt idx="7">
                  <c:v>208.48599999999999</c:v>
                </c:pt>
              </c:numCache>
            </c:numRef>
          </c:xVal>
          <c:yVal>
            <c:numRef>
              <c:f>Sheet1!$B$2:$B$9</c:f>
              <c:numCache>
                <c:formatCode>General</c:formatCode>
                <c:ptCount val="8"/>
                <c:pt idx="0">
                  <c:v>0.71299999999999997</c:v>
                </c:pt>
                <c:pt idx="1">
                  <c:v>2.6619999999999999</c:v>
                </c:pt>
                <c:pt idx="2">
                  <c:v>0.495</c:v>
                </c:pt>
                <c:pt idx="3">
                  <c:v>4.38</c:v>
                </c:pt>
                <c:pt idx="4">
                  <c:v>0.51200000000000001</c:v>
                </c:pt>
                <c:pt idx="5">
                  <c:v>3.778</c:v>
                </c:pt>
                <c:pt idx="6">
                  <c:v>3.1309999999999998</c:v>
                </c:pt>
                <c:pt idx="7">
                  <c:v>1.6639999999999999</c:v>
                </c:pt>
              </c:numCache>
            </c:numRef>
          </c:yVal>
          <c:bubbleSize>
            <c:numRef>
              <c:f>Sheet1!$C$2:$C$9</c:f>
              <c:numCache>
                <c:formatCode>General</c:formatCode>
                <c:ptCount val="8"/>
                <c:pt idx="0">
                  <c:v>712991219</c:v>
                </c:pt>
                <c:pt idx="1">
                  <c:v>560154823</c:v>
                </c:pt>
                <c:pt idx="2">
                  <c:v>338199514</c:v>
                </c:pt>
                <c:pt idx="3">
                  <c:v>334290507</c:v>
                </c:pt>
                <c:pt idx="4">
                  <c:v>289054849</c:v>
                </c:pt>
                <c:pt idx="5">
                  <c:v>240875045</c:v>
                </c:pt>
                <c:pt idx="6">
                  <c:v>199973121</c:v>
                </c:pt>
                <c:pt idx="7">
                  <c:v>12989092</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La Roche-Posay</c:v>
                  </c:pt>
                  <c:pt idx="4">
                    <c:v>Banana Boat</c:v>
                  </c:pt>
                  <c:pt idx="5">
                    <c:v>Eucerin</c:v>
                  </c:pt>
                  <c:pt idx="6">
                    <c:v>Avene</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5"/>
          <c:min val="16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FF243EC-C6D4-4567-9ADB-366CED732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EA5A576-8401-42F9-B18B-68B48CDB3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1EE519-B402-4643-A613-9F77FF043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6C0E42D-6DD0-4D02-882A-7AE113CD37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348706E-015C-45A8-B8BD-9B8289D835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C512670-1157-4261-883F-8975E2B1B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F31F0F9-01F4-4D62-8CC0-913CD83AF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329F501-8237-46DD-937C-14F756904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574.96820000000002</c:v>
                </c:pt>
                <c:pt idx="1">
                  <c:v>652.13699999999994</c:v>
                </c:pt>
                <c:pt idx="2">
                  <c:v>698.27750000000003</c:v>
                </c:pt>
                <c:pt idx="3">
                  <c:v>760.58529999999996</c:v>
                </c:pt>
                <c:pt idx="4">
                  <c:v>776.75390000000004</c:v>
                </c:pt>
              </c:numCache>
            </c:numRef>
          </c:xVal>
          <c:yVal>
            <c:numRef>
              <c:f>Sheet1!$B$2:$B$6</c:f>
              <c:numCache>
                <c:formatCode>General</c:formatCode>
                <c:ptCount val="5"/>
                <c:pt idx="0">
                  <c:v>1.4930000000000001</c:v>
                </c:pt>
                <c:pt idx="1">
                  <c:v>0.72499999999999998</c:v>
                </c:pt>
                <c:pt idx="2">
                  <c:v>0.77600000000000002</c:v>
                </c:pt>
                <c:pt idx="3">
                  <c:v>4.1470000000000002</c:v>
                </c:pt>
                <c:pt idx="4">
                  <c:v>0.94099999999999995</c:v>
                </c:pt>
              </c:numCache>
            </c:numRef>
          </c:yVal>
          <c:bubbleSize>
            <c:numRef>
              <c:f>Sheet1!$C$2:$C$6</c:f>
              <c:numCache>
                <c:formatCode>General</c:formatCode>
                <c:ptCount val="5"/>
                <c:pt idx="0">
                  <c:v>22969979</c:v>
                </c:pt>
                <c:pt idx="1">
                  <c:v>21728553</c:v>
                </c:pt>
                <c:pt idx="2">
                  <c:v>3737181</c:v>
                </c:pt>
                <c:pt idx="3">
                  <c:v>2341842</c:v>
                </c:pt>
                <c:pt idx="4">
                  <c:v>602761</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Heliocare</c:v>
                  </c:pt>
                  <c:pt idx="3">
                    <c:v>Vichy</c:v>
                  </c:pt>
                  <c:pt idx="4">
                    <c:v>Av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32"/>
          <c:min val="4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3F17289-CD88-4C9C-8CCC-630ABC28C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0D4BC363-4C82-47B0-8946-2B5EF743F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FAA5C09-F8CF-4087-B19F-5B5938063D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43DBD09A-3681-4EE2-915B-C416399961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98623AB-986F-4EFD-A42F-065F51471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30F5860-B729-444E-80A7-94DD04FA5A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19F59159-33DD-47A1-80C1-7EB7B271E6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DC784E30-36C0-461A-B5D9-9A1EA049A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26.56700000000001</c:v>
                </c:pt>
                <c:pt idx="1">
                  <c:v>681.67589999999996</c:v>
                </c:pt>
                <c:pt idx="2">
                  <c:v>684.12149999999997</c:v>
                </c:pt>
                <c:pt idx="3">
                  <c:v>728.54459999999995</c:v>
                </c:pt>
                <c:pt idx="4">
                  <c:v>322.411</c:v>
                </c:pt>
                <c:pt idx="5">
                  <c:v>627.55100000000004</c:v>
                </c:pt>
                <c:pt idx="6">
                  <c:v>745.46540000000005</c:v>
                </c:pt>
                <c:pt idx="7">
                  <c:v>778.24239999999998</c:v>
                </c:pt>
              </c:numCache>
            </c:numRef>
          </c:xVal>
          <c:yVal>
            <c:numRef>
              <c:f>Sheet1!$B$2:$B$9</c:f>
              <c:numCache>
                <c:formatCode>General</c:formatCode>
                <c:ptCount val="8"/>
                <c:pt idx="0">
                  <c:v>1.4990000000000001</c:v>
                </c:pt>
                <c:pt idx="1">
                  <c:v>0.88600000000000001</c:v>
                </c:pt>
                <c:pt idx="2">
                  <c:v>1.492</c:v>
                </c:pt>
                <c:pt idx="3">
                  <c:v>1.0069999999999999</c:v>
                </c:pt>
                <c:pt idx="4">
                  <c:v>0.42899999999999999</c:v>
                </c:pt>
                <c:pt idx="5">
                  <c:v>1.5289999999999999</c:v>
                </c:pt>
                <c:pt idx="6">
                  <c:v>2.7610000000000001</c:v>
                </c:pt>
                <c:pt idx="7">
                  <c:v>0.65700000000000003</c:v>
                </c:pt>
              </c:numCache>
            </c:numRef>
          </c:yVal>
          <c:bubbleSize>
            <c:numRef>
              <c:f>Sheet1!$C$2:$C$9</c:f>
              <c:numCache>
                <c:formatCode>General</c:formatCode>
                <c:ptCount val="8"/>
                <c:pt idx="0">
                  <c:v>236836703</c:v>
                </c:pt>
                <c:pt idx="1">
                  <c:v>115896495</c:v>
                </c:pt>
                <c:pt idx="2">
                  <c:v>79984060</c:v>
                </c:pt>
                <c:pt idx="3">
                  <c:v>77229369</c:v>
                </c:pt>
                <c:pt idx="4">
                  <c:v>58967363</c:v>
                </c:pt>
                <c:pt idx="5">
                  <c:v>44488346</c:v>
                </c:pt>
                <c:pt idx="6">
                  <c:v>42071086</c:v>
                </c:pt>
                <c:pt idx="7">
                  <c:v>39507474</c:v>
                </c:pt>
              </c:numCache>
            </c:numRef>
          </c:bubbleSize>
          <c:bubble3D val="0"/>
          <c:extLst>
            <c:ext xmlns:c15="http://schemas.microsoft.com/office/drawing/2012/chart" uri="{02D57815-91ED-43cb-92C2-25804820EDAC}">
              <c15:datalabelsRange>
                <c15:f>Sheet1!$E$2:$E$10</c15:f>
                <c15:dlblRangeCache>
                  <c:ptCount val="9"/>
                  <c:pt idx="0">
                    <c:v>Isdin</c:v>
                  </c:pt>
                  <c:pt idx="1">
                    <c:v>Avene</c:v>
                  </c:pt>
                  <c:pt idx="2">
                    <c:v>La Roche-Posay</c:v>
                  </c:pt>
                  <c:pt idx="3">
                    <c:v>Eucerin</c:v>
                  </c:pt>
                  <c:pt idx="4">
                    <c:v>Neutrogena</c:v>
                  </c:pt>
                  <c:pt idx="5">
                    <c:v>Heliocare</c:v>
                  </c:pt>
                  <c:pt idx="6">
                    <c:v>Photoderm</c:v>
                  </c:pt>
                  <c:pt idx="7">
                    <c:v>Vich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34"/>
          <c:min val="25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D5789F7-F6B1-4564-8BDF-FE8249168F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EBEA1744-200B-4DDA-BF90-4CDF4D4360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E46CFEA5-AC95-46C3-92C0-CC7BE5D4FD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99FF02E0-0115-4E8F-92BC-E9065050F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D670B524-84A9-414D-B94D-DB78C6B6F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DD050640-D746-4542-BF24-FF13CBA07A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C507B59E-1A41-45E3-A703-BA3F9B7D96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8EE67CE0-62CD-46A3-B038-D2574664F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29.39239999999995</c:v>
                </c:pt>
                <c:pt idx="1">
                  <c:v>646.77200000000005</c:v>
                </c:pt>
                <c:pt idx="2">
                  <c:v>772.65</c:v>
                </c:pt>
                <c:pt idx="3">
                  <c:v>639.43899999999996</c:v>
                </c:pt>
                <c:pt idx="4">
                  <c:v>619.71360000000004</c:v>
                </c:pt>
                <c:pt idx="5">
                  <c:v>658.16420000000005</c:v>
                </c:pt>
              </c:numCache>
            </c:numRef>
          </c:xVal>
          <c:yVal>
            <c:numRef>
              <c:f>Sheet1!$B$2:$B$7</c:f>
              <c:numCache>
                <c:formatCode>General</c:formatCode>
                <c:ptCount val="6"/>
                <c:pt idx="0">
                  <c:v>0.91700000000000004</c:v>
                </c:pt>
                <c:pt idx="1">
                  <c:v>0.96099999999999997</c:v>
                </c:pt>
                <c:pt idx="2">
                  <c:v>1.2529999999999999</c:v>
                </c:pt>
                <c:pt idx="3">
                  <c:v>0.92600000000000005</c:v>
                </c:pt>
                <c:pt idx="4">
                  <c:v>0.91100000000000003</c:v>
                </c:pt>
                <c:pt idx="5">
                  <c:v>1.45</c:v>
                </c:pt>
              </c:numCache>
            </c:numRef>
          </c:yVal>
          <c:bubbleSize>
            <c:numRef>
              <c:f>Sheet1!$C$2:$C$7</c:f>
              <c:numCache>
                <c:formatCode>General</c:formatCode>
                <c:ptCount val="6"/>
                <c:pt idx="0">
                  <c:v>120217088</c:v>
                </c:pt>
                <c:pt idx="1">
                  <c:v>55895332</c:v>
                </c:pt>
                <c:pt idx="2">
                  <c:v>51773732</c:v>
                </c:pt>
                <c:pt idx="3">
                  <c:v>23370856</c:v>
                </c:pt>
                <c:pt idx="4">
                  <c:v>16949787</c:v>
                </c:pt>
                <c:pt idx="5">
                  <c:v>15586645</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Heliocare</c:v>
                  </c:pt>
                  <c:pt idx="4">
                    <c:v>Eucerin</c:v>
                  </c:pt>
                  <c:pt idx="5">
                    <c:v>Photoderm</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27"/>
          <c:min val="49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89D0982F-B03F-4767-9918-E07FC81CF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9408089F-A35D-4841-A072-6D444D5B1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1A600BF5-0A23-408E-BB43-98DA89B58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9D6A73F7-49B6-4C58-BEC2-15A51D0F3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CFDFAC36-DBD8-4F28-AD2F-9681D1942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1021B0E7-4A8C-4F5D-8367-F0D2A487B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ACA2BEFC-A676-4138-B803-7732D040B3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024ADAA5-7739-4DD2-9AA1-7769BDC9A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40.50599999999997</c:v>
                </c:pt>
                <c:pt idx="1">
                  <c:v>648.19640000000004</c:v>
                </c:pt>
                <c:pt idx="2">
                  <c:v>586.74339999999995</c:v>
                </c:pt>
                <c:pt idx="3">
                  <c:v>661.21299999999997</c:v>
                </c:pt>
                <c:pt idx="4">
                  <c:v>786.29650000000004</c:v>
                </c:pt>
                <c:pt idx="5">
                  <c:v>523.94230000000005</c:v>
                </c:pt>
              </c:numCache>
            </c:numRef>
          </c:xVal>
          <c:yVal>
            <c:numRef>
              <c:f>Sheet1!$B$2:$B$7</c:f>
              <c:numCache>
                <c:formatCode>General</c:formatCode>
                <c:ptCount val="6"/>
                <c:pt idx="0">
                  <c:v>0.48799999999999999</c:v>
                </c:pt>
                <c:pt idx="1">
                  <c:v>2.4420000000000002</c:v>
                </c:pt>
                <c:pt idx="2">
                  <c:v>2.2029999999999998</c:v>
                </c:pt>
                <c:pt idx="3">
                  <c:v>2.2400000000000002</c:v>
                </c:pt>
                <c:pt idx="4">
                  <c:v>4.9870000000000001</c:v>
                </c:pt>
                <c:pt idx="5">
                  <c:v>0.98</c:v>
                </c:pt>
              </c:numCache>
            </c:numRef>
          </c:yVal>
          <c:bubbleSize>
            <c:numRef>
              <c:f>Sheet1!$C$2:$C$7</c:f>
              <c:numCache>
                <c:formatCode>General</c:formatCode>
                <c:ptCount val="6"/>
                <c:pt idx="0">
                  <c:v>88726737</c:v>
                </c:pt>
                <c:pt idx="1">
                  <c:v>69410170</c:v>
                </c:pt>
                <c:pt idx="2">
                  <c:v>51697378</c:v>
                </c:pt>
                <c:pt idx="3">
                  <c:v>21966819</c:v>
                </c:pt>
                <c:pt idx="4">
                  <c:v>10846174</c:v>
                </c:pt>
                <c:pt idx="5">
                  <c:v>4515335</c:v>
                </c:pt>
              </c:numCache>
            </c:numRef>
          </c:bubbleSize>
          <c:bubble3D val="0"/>
          <c:extLst>
            <c:ext xmlns:c15="http://schemas.microsoft.com/office/drawing/2012/chart" uri="{02D57815-91ED-43cb-92C2-25804820EDAC}">
              <c15:datalabelsRange>
                <c15:f>Sheet1!$E$2:$E$10</c15:f>
                <c15:dlblRangeCache>
                  <c:ptCount val="9"/>
                  <c:pt idx="0">
                    <c:v>Isdin</c:v>
                  </c:pt>
                  <c:pt idx="1">
                    <c:v>Eucerin</c:v>
                  </c:pt>
                  <c:pt idx="2">
                    <c:v>La Roche-Posay</c:v>
                  </c:pt>
                  <c:pt idx="3">
                    <c:v>Heliocare</c:v>
                  </c:pt>
                  <c:pt idx="4">
                    <c:v>Photoderm</c:v>
                  </c:pt>
                  <c:pt idx="5">
                    <c:v>Cetaphil</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4"/>
          <c:min val="41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B3BCA2-CB63-4DDC-B6F4-88B190810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3851D92-8E21-4F2B-9641-86ADF8DA63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A0EA4CE-38E5-4C6D-9F82-1F94C157B7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1DB1ACC-1871-44E3-B3B4-AF6104FBD6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B70D317-C5F5-4C2D-99D1-846896679F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8D7A42B-CB58-408A-912D-94F2D92BA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ED9F67D-1DF8-43A5-BE46-56A79C48E5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5624425-1123-4FD4-A051-431D0A7316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93.9</c:v>
                </c:pt>
                <c:pt idx="1">
                  <c:v>831.80759999999998</c:v>
                </c:pt>
              </c:numCache>
            </c:numRef>
          </c:xVal>
          <c:yVal>
            <c:numRef>
              <c:f>Sheet1!$B$2:$B$3</c:f>
              <c:numCache>
                <c:formatCode>General</c:formatCode>
                <c:ptCount val="2"/>
                <c:pt idx="0">
                  <c:v>0.88400000000000001</c:v>
                </c:pt>
                <c:pt idx="1">
                  <c:v>2.4860000000000002</c:v>
                </c:pt>
              </c:numCache>
            </c:numRef>
          </c:yVal>
          <c:bubbleSize>
            <c:numRef>
              <c:f>Sheet1!$C$2:$C$3</c:f>
              <c:numCache>
                <c:formatCode>General</c:formatCode>
                <c:ptCount val="2"/>
                <c:pt idx="0">
                  <c:v>31886093</c:v>
                </c:pt>
                <c:pt idx="1">
                  <c:v>6997997</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98"/>
          <c:min val="55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F6FE0F88-CA53-42FC-8785-B718A5D6DD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5651BB9-147D-4AF4-A18F-D05676B44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9D27B94E-A022-4868-A8AC-3669DA3F0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EFC9EB8D-A832-4442-B974-EFD5316998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AA1D0804-EAB6-46ED-B68F-BC60DBC1B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F0E31F2A-301D-470F-A0FE-4BF8B2F2B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3E0725EE-C3AE-423A-BF2E-654DE3B7DE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AC887A7-3203-416E-ACD0-22119E942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37.64200000000005</c:v>
                </c:pt>
                <c:pt idx="1">
                  <c:v>877.44539999999995</c:v>
                </c:pt>
                <c:pt idx="2">
                  <c:v>614.92139999999995</c:v>
                </c:pt>
                <c:pt idx="3">
                  <c:v>524.34870000000001</c:v>
                </c:pt>
                <c:pt idx="4">
                  <c:v>231.5067</c:v>
                </c:pt>
                <c:pt idx="5">
                  <c:v>797.26059999999995</c:v>
                </c:pt>
                <c:pt idx="6">
                  <c:v>885.49980000000005</c:v>
                </c:pt>
                <c:pt idx="7">
                  <c:v>804.7115</c:v>
                </c:pt>
              </c:numCache>
            </c:numRef>
          </c:xVal>
          <c:yVal>
            <c:numRef>
              <c:f>Sheet1!$B$2:$B$9</c:f>
              <c:numCache>
                <c:formatCode>General</c:formatCode>
                <c:ptCount val="8"/>
                <c:pt idx="0">
                  <c:v>1.5169999999999999</c:v>
                </c:pt>
                <c:pt idx="1">
                  <c:v>1.6479999999999999</c:v>
                </c:pt>
                <c:pt idx="2">
                  <c:v>0.48199999999999998</c:v>
                </c:pt>
                <c:pt idx="3">
                  <c:v>0.78400000000000003</c:v>
                </c:pt>
                <c:pt idx="4">
                  <c:v>1.18</c:v>
                </c:pt>
                <c:pt idx="5">
                  <c:v>0.87</c:v>
                </c:pt>
                <c:pt idx="6">
                  <c:v>0.872</c:v>
                </c:pt>
                <c:pt idx="7">
                  <c:v>0.85</c:v>
                </c:pt>
              </c:numCache>
            </c:numRef>
          </c:yVal>
          <c:bubbleSize>
            <c:numRef>
              <c:f>Sheet1!$C$2:$C$9</c:f>
              <c:numCache>
                <c:formatCode>General</c:formatCode>
                <c:ptCount val="8"/>
                <c:pt idx="0">
                  <c:v>13405148</c:v>
                </c:pt>
                <c:pt idx="1">
                  <c:v>8344506</c:v>
                </c:pt>
                <c:pt idx="2">
                  <c:v>7937406</c:v>
                </c:pt>
                <c:pt idx="3">
                  <c:v>7648674</c:v>
                </c:pt>
                <c:pt idx="4">
                  <c:v>6738929</c:v>
                </c:pt>
                <c:pt idx="5">
                  <c:v>6171594</c:v>
                </c:pt>
                <c:pt idx="6">
                  <c:v>2581232</c:v>
                </c:pt>
                <c:pt idx="7">
                  <c:v>2256411</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Avene</c:v>
                  </c:pt>
                  <c:pt idx="3">
                    <c:v>Cetaphil</c:v>
                  </c:pt>
                  <c:pt idx="4">
                    <c:v>Loreal Paris</c:v>
                  </c:pt>
                  <c:pt idx="5">
                    <c:v>Eucerin</c:v>
                  </c:pt>
                  <c:pt idx="6">
                    <c:v>Photoderm</c:v>
                  </c:pt>
                  <c:pt idx="7">
                    <c:v>Vichy</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63"/>
          <c:min val="18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5F70749-1CA1-416D-B4B1-041DE2A7B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C1254A80-6D84-4B19-9A89-4BBCD352B4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9DEEDA68-F872-4A52-B04A-23CDAB36D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EFC33292-B239-486B-A954-7CD583D759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23389231-B35F-4436-8DFA-18D7EBDC2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365409C3-39A7-48BE-89A7-ABBECC4E6F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EF6AC605-7E64-4420-880E-9C756C3D59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86B6779C-CBEF-4D8B-BAFF-0C847DA94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48.63059999999996</c:v>
                </c:pt>
                <c:pt idx="1">
                  <c:v>331.2047</c:v>
                </c:pt>
                <c:pt idx="2">
                  <c:v>721.35090000000002</c:v>
                </c:pt>
              </c:numCache>
            </c:numRef>
          </c:xVal>
          <c:yVal>
            <c:numRef>
              <c:f>Sheet1!$B$2:$B$4</c:f>
              <c:numCache>
                <c:formatCode>General</c:formatCode>
                <c:ptCount val="3"/>
                <c:pt idx="0">
                  <c:v>0.748</c:v>
                </c:pt>
                <c:pt idx="1">
                  <c:v>1.484</c:v>
                </c:pt>
                <c:pt idx="2">
                  <c:v>1.32</c:v>
                </c:pt>
              </c:numCache>
            </c:numRef>
          </c:yVal>
          <c:bubbleSize>
            <c:numRef>
              <c:f>Sheet1!$C$2:$C$4</c:f>
              <c:numCache>
                <c:formatCode>General</c:formatCode>
                <c:ptCount val="3"/>
                <c:pt idx="0">
                  <c:v>4895215</c:v>
                </c:pt>
                <c:pt idx="1">
                  <c:v>2831469</c:v>
                </c:pt>
                <c:pt idx="2">
                  <c:v>2783693</c:v>
                </c:pt>
              </c:numCache>
            </c:numRef>
          </c:bubbleSize>
          <c:bubble3D val="0"/>
          <c:extLst>
            <c:ext xmlns:c15="http://schemas.microsoft.com/office/drawing/2012/chart" uri="{02D57815-91ED-43cb-92C2-25804820EDAC}">
              <c15:datalabelsRange>
                <c15:f>Sheet1!$E$2:$E$10</c15:f>
                <c15:dlblRangeCache>
                  <c:ptCount val="9"/>
                  <c:pt idx="0">
                    <c:v>Isdin</c:v>
                  </c:pt>
                  <c:pt idx="1">
                    <c:v>Eclipsol</c:v>
                  </c:pt>
                  <c:pt idx="2">
                    <c:v>La Roche-Posay</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6"/>
          <c:min val="26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B65FDF2D-0022-4A98-BCEF-2E8FEBF47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774F90FA-49A3-47CD-9AE3-DBE39A372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88E08F43-78E4-44D3-9B0D-9EEAF08FD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484C7576-6558-49E1-9C34-6343257B1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0F5B7356-10F0-4B4B-B29F-AA127867F6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C6AD6967-D076-4A97-AC87-9A2D0A1C9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2D64BF38-A79C-4F2C-B19C-D7F8C3685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157B5686-D82A-4087-A60F-9E45EB3DC3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750.1001</c:v>
                </c:pt>
                <c:pt idx="1">
                  <c:v>1110.2319</c:v>
                </c:pt>
                <c:pt idx="2">
                  <c:v>631.07150000000001</c:v>
                </c:pt>
              </c:numCache>
            </c:numRef>
          </c:xVal>
          <c:yVal>
            <c:numRef>
              <c:f>Sheet1!$B$2:$B$4</c:f>
              <c:numCache>
                <c:formatCode>General</c:formatCode>
                <c:ptCount val="3"/>
                <c:pt idx="0">
                  <c:v>0.88900000000000001</c:v>
                </c:pt>
                <c:pt idx="1">
                  <c:v>1.837</c:v>
                </c:pt>
                <c:pt idx="2">
                  <c:v>1.677</c:v>
                </c:pt>
              </c:numCache>
            </c:numRef>
          </c:yVal>
          <c:bubbleSize>
            <c:numRef>
              <c:f>Sheet1!$C$2:$C$4</c:f>
              <c:numCache>
                <c:formatCode>General</c:formatCode>
                <c:ptCount val="3"/>
                <c:pt idx="0">
                  <c:v>20864033</c:v>
                </c:pt>
                <c:pt idx="1">
                  <c:v>3767017</c:v>
                </c:pt>
                <c:pt idx="2">
                  <c:v>2206857</c:v>
                </c:pt>
              </c:numCache>
            </c:numRef>
          </c:bubbleSize>
          <c:bubble3D val="0"/>
          <c:extLst>
            <c:ext xmlns:c15="http://schemas.microsoft.com/office/drawing/2012/chart" uri="{02D57815-91ED-43cb-92C2-25804820EDAC}">
              <c15:datalabelsRange>
                <c15:f>Sheet1!$E$2:$E$10</c15:f>
                <c15:dlblRangeCache>
                  <c:ptCount val="9"/>
                  <c:pt idx="0">
                    <c:v>Photoderm</c:v>
                  </c:pt>
                  <c:pt idx="1">
                    <c:v>La Roche-Posay</c:v>
                  </c:pt>
                  <c:pt idx="2">
                    <c:v>Genov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32"/>
          <c:min val="50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A12390-5F95-439B-90E7-B845CAAB5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D4BCA94A-E3DD-4630-84DB-3DE95A2F3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E78A9C6-42FE-450B-B65D-8CFF203B9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629B36C-8113-488C-94B8-0C8739CE3A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9BA8083-743A-4ECA-8A9D-06B7223000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01F7C2B-2173-4AF1-AAF7-44D5937627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FCDFA8F-F522-4B78-9B21-ED0CF6D7F9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A2E7182-B143-48BD-9F69-E8AA672318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89.36520000000002</c:v>
                </c:pt>
              </c:numCache>
            </c:numRef>
          </c:xVal>
          <c:yVal>
            <c:numRef>
              <c:f>Sheet1!$B$2:$B$2</c:f>
              <c:numCache>
                <c:formatCode>General</c:formatCode>
                <c:ptCount val="1"/>
                <c:pt idx="0">
                  <c:v>1</c:v>
                </c:pt>
              </c:numCache>
            </c:numRef>
          </c:yVal>
          <c:bubbleSize>
            <c:numRef>
              <c:f>Sheet1!$C$2:$C$2</c:f>
              <c:numCache>
                <c:formatCode>General</c:formatCode>
                <c:ptCount val="1"/>
                <c:pt idx="0">
                  <c:v>30527089</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87"/>
          <c:min val="39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C4DD8842-22A0-4FB6-BCAB-2CA908DA1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3069C3F-EAA1-4194-82BC-4558704B9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0E8B0BA1-172E-4C40-A7C9-2A52E10DE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F2D15400-8CA9-44CD-9055-CF4E5589A2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B816D72B-5947-40CF-95E7-C1EFCA078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30E5A46D-18BE-4D44-913A-71F026C41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CF7D0842-A950-4F8D-A703-6BA9A6936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33AAC26A-4860-46DE-B61E-989287CA3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24880000000002</c:v>
                </c:pt>
                <c:pt idx="1">
                  <c:v>84.300399999999996</c:v>
                </c:pt>
              </c:numCache>
            </c:numRef>
          </c:xVal>
          <c:yVal>
            <c:numRef>
              <c:f>Sheet1!$B$2:$B$3</c:f>
              <c:numCache>
                <c:formatCode>General</c:formatCode>
                <c:ptCount val="2"/>
                <c:pt idx="0">
                  <c:v>1.1060000000000001</c:v>
                </c:pt>
                <c:pt idx="1">
                  <c:v>0.499</c:v>
                </c:pt>
              </c:numCache>
            </c:numRef>
          </c:yVal>
          <c:bubbleSize>
            <c:numRef>
              <c:f>Sheet1!$C$2:$C$3</c:f>
              <c:numCache>
                <c:formatCode>General</c:formatCode>
                <c:ptCount val="2"/>
                <c:pt idx="0">
                  <c:v>15642972</c:v>
                </c:pt>
                <c:pt idx="1">
                  <c:v>2486271</c:v>
                </c:pt>
              </c:numCache>
            </c:numRef>
          </c:bubbleSize>
          <c:bubble3D val="0"/>
          <c:extLst>
            <c:ext xmlns:c15="http://schemas.microsoft.com/office/drawing/2012/chart" uri="{02D57815-91ED-43cb-92C2-25804820EDAC}">
              <c15:datalabelsRange>
                <c15:f>Sheet1!$E$2:$E$10</c15:f>
                <c15:dlblRangeCache>
                  <c:ptCount val="9"/>
                  <c:pt idx="0">
                    <c:v>Banana Boat</c:v>
                  </c:pt>
                  <c:pt idx="1">
                    <c:v>Caribbean Beach</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9"/>
          <c:min val="6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D12A39-7135-46A5-A449-55F3D5EFB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AC7624A-7249-489C-AFC3-2FC47E05A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9502DA-D103-43C7-8B4A-4C8FD87E39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657F05C-08A5-47D8-A4C4-A19AFADBD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5062901-8FC8-436E-9285-F46FB16803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F18DB61-98B1-4F36-8144-E0202ABE6D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433850F-844B-492D-A8A4-CFEF97E05F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95793BA-82D0-42BE-AC85-7A01F33EE4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21.58029999999997</c:v>
                </c:pt>
                <c:pt idx="1">
                  <c:v>640.02089999999998</c:v>
                </c:pt>
                <c:pt idx="2">
                  <c:v>685.56870000000004</c:v>
                </c:pt>
                <c:pt idx="3">
                  <c:v>284.22660000000002</c:v>
                </c:pt>
                <c:pt idx="4">
                  <c:v>702.84829999999999</c:v>
                </c:pt>
                <c:pt idx="5">
                  <c:v>251.89150000000001</c:v>
                </c:pt>
                <c:pt idx="6">
                  <c:v>204.7139</c:v>
                </c:pt>
                <c:pt idx="7">
                  <c:v>282.38249999999999</c:v>
                </c:pt>
              </c:numCache>
            </c:numRef>
          </c:xVal>
          <c:yVal>
            <c:numRef>
              <c:f>Sheet1!$B$2:$B$9</c:f>
              <c:numCache>
                <c:formatCode>General</c:formatCode>
                <c:ptCount val="8"/>
                <c:pt idx="0">
                  <c:v>1.554</c:v>
                </c:pt>
                <c:pt idx="1">
                  <c:v>2.609</c:v>
                </c:pt>
                <c:pt idx="2">
                  <c:v>2.2949999999999999</c:v>
                </c:pt>
                <c:pt idx="3">
                  <c:v>0.496</c:v>
                </c:pt>
                <c:pt idx="4">
                  <c:v>1.877</c:v>
                </c:pt>
                <c:pt idx="5">
                  <c:v>0.29899999999999999</c:v>
                </c:pt>
                <c:pt idx="6">
                  <c:v>0.33400000000000002</c:v>
                </c:pt>
                <c:pt idx="7">
                  <c:v>2.6850000000000001</c:v>
                </c:pt>
              </c:numCache>
            </c:numRef>
          </c:yVal>
          <c:bubbleSize>
            <c:numRef>
              <c:f>Sheet1!$C$2:$C$9</c:f>
              <c:numCache>
                <c:formatCode>General</c:formatCode>
                <c:ptCount val="8"/>
                <c:pt idx="0">
                  <c:v>452020654</c:v>
                </c:pt>
                <c:pt idx="1">
                  <c:v>289763721</c:v>
                </c:pt>
                <c:pt idx="2">
                  <c:v>201647013</c:v>
                </c:pt>
                <c:pt idx="3">
                  <c:v>187539514</c:v>
                </c:pt>
                <c:pt idx="4">
                  <c:v>176210394</c:v>
                </c:pt>
                <c:pt idx="5">
                  <c:v>91049215</c:v>
                </c:pt>
                <c:pt idx="6">
                  <c:v>83479659</c:v>
                </c:pt>
                <c:pt idx="7">
                  <c:v>530032</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Eucerin</c:v>
                  </c:pt>
                  <c:pt idx="3">
                    <c:v>Nivea</c:v>
                  </c:pt>
                  <c:pt idx="4">
                    <c:v>Avene</c:v>
                  </c:pt>
                  <c:pt idx="5">
                    <c:v>Hawaiian Tropic</c:v>
                  </c:pt>
                  <c:pt idx="6">
                    <c:v>Banana Boat</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3"/>
          <c:min val="16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E8BB5939-1B60-4F3D-9BAF-88269E1870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C922255-D62C-472C-8D3E-59258BE62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EB363052-5745-477B-BBFB-77FA9B788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12C1D97C-869F-41C0-8043-7538B3C26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CE46C254-1A8C-4B3A-9DB0-630A03B73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75DFF803-75C2-457C-A1BD-07AF014A0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20A95F9E-D6E2-4160-BD92-2EC16B00A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E6795205-34A2-498C-A879-C8C6F58EF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09.71090000000001</c:v>
                </c:pt>
                <c:pt idx="1">
                  <c:v>323.12200000000001</c:v>
                </c:pt>
              </c:numCache>
            </c:numRef>
          </c:xVal>
          <c:yVal>
            <c:numRef>
              <c:f>Sheet1!$B$2:$B$3</c:f>
              <c:numCache>
                <c:formatCode>General</c:formatCode>
                <c:ptCount val="2"/>
                <c:pt idx="0">
                  <c:v>0.96899999999999997</c:v>
                </c:pt>
                <c:pt idx="1">
                  <c:v>1.097</c:v>
                </c:pt>
              </c:numCache>
            </c:numRef>
          </c:yVal>
          <c:bubbleSize>
            <c:numRef>
              <c:f>Sheet1!$C$2:$C$3</c:f>
              <c:numCache>
                <c:formatCode>General</c:formatCode>
                <c:ptCount val="2"/>
                <c:pt idx="0">
                  <c:v>23517403</c:v>
                </c:pt>
                <c:pt idx="1">
                  <c:v>8644807</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88"/>
          <c:min val="16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D3D1B306-DDBB-4D45-9206-C9C1E2CC4A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CA-4C16-90F6-A0D9A3D8DA8E}"/>
                </c:ext>
              </c:extLst>
            </c:dLbl>
            <c:dLbl>
              <c:idx val="2"/>
              <c:tx>
                <c:rich>
                  <a:bodyPr/>
                  <a:lstStyle/>
                  <a:p>
                    <a:fld id="{C0D29448-8714-4F79-8555-48CDBEC096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F2D4E784-A5C6-4FAF-A665-D3E7F04CF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9C0165B1-4510-4B9C-8E07-36037062B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69E2C186-CE7B-450F-85DD-5C274310A2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F028461A-9656-4159-B623-B47B5BBAC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88336F30-4399-49F1-979C-8D4E50F232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A6E5A29A-62A5-4962-8220-9E76E2CFA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5.6639</c:v>
                </c:pt>
              </c:numCache>
            </c:numRef>
          </c:xVal>
          <c:yVal>
            <c:numRef>
              <c:f>Sheet1!$B$2:$B$2</c:f>
              <c:numCache>
                <c:formatCode>General</c:formatCode>
                <c:ptCount val="1"/>
                <c:pt idx="0">
                  <c:v>0.998</c:v>
                </c:pt>
              </c:numCache>
            </c:numRef>
          </c:yVal>
          <c:bubbleSize>
            <c:numRef>
              <c:f>Sheet1!$C$2:$C$2</c:f>
              <c:numCache>
                <c:formatCode>General</c:formatCode>
                <c:ptCount val="1"/>
                <c:pt idx="0">
                  <c:v>9707911</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1"/>
          <c:min val="10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B8A0075-6983-4C4D-B595-C050E7FE1F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F52BBBE6-D7DE-4CAE-AD42-099744EF91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0C66E0F-62B2-499C-A4BB-A80054E9D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1DF4DE6-1557-4B06-8774-9A0646ED5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B212C6D-8A22-4076-BC77-E6E38A92C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D7A12E6-8AFA-41AE-9A4E-32F4FF8782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64F852B-D60A-48C2-9A0E-53D91595B4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7ACC6BF-A337-4E2D-A815-E85B3DC16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68.09210000000002</c:v>
                </c:pt>
              </c:numCache>
            </c:numRef>
          </c:xVal>
          <c:yVal>
            <c:numRef>
              <c:f>Sheet1!$B$2:$B$2</c:f>
              <c:numCache>
                <c:formatCode>General</c:formatCode>
                <c:ptCount val="1"/>
                <c:pt idx="0">
                  <c:v>1</c:v>
                </c:pt>
              </c:numCache>
            </c:numRef>
          </c:yVal>
          <c:bubbleSize>
            <c:numRef>
              <c:f>Sheet1!$C$2:$C$2</c:f>
              <c:numCache>
                <c:formatCode>General</c:formatCode>
                <c:ptCount val="1"/>
                <c:pt idx="0">
                  <c:v>238602</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2"/>
          <c:min val="2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1AA20DE-9133-4EBA-89ED-78DE16F944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998942D1-66E9-48D4-923E-67F9A8B57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CA913256-CDED-4768-BE66-029800820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4B470BE3-D1A5-4EE9-8C42-E0CEAEBE14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59749CD2-4FCD-4F8A-93CC-7EEA8BC280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C4768F87-1746-4174-8572-29EDD8D70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2900BFB2-83AA-4BE8-8990-5BD2FCB437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951A80A4-7AEB-4B49-ACC4-4C0D6C803A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55.08360000000005</c:v>
                </c:pt>
              </c:numCache>
            </c:numRef>
          </c:xVal>
          <c:yVal>
            <c:numRef>
              <c:f>Sheet1!$B$2:$B$2</c:f>
              <c:numCache>
                <c:formatCode>General</c:formatCode>
                <c:ptCount val="1"/>
                <c:pt idx="0">
                  <c:v>1</c:v>
                </c:pt>
              </c:numCache>
            </c:numRef>
          </c:yVal>
          <c:bubbleSize>
            <c:numRef>
              <c:f>Sheet1!$C$2:$C$2</c:f>
              <c:numCache>
                <c:formatCode>General</c:formatCode>
                <c:ptCount val="1"/>
                <c:pt idx="0">
                  <c:v>12418886</c:v>
                </c:pt>
              </c:numCache>
            </c:numRef>
          </c:bubbleSize>
          <c:bubble3D val="0"/>
          <c:extLst>
            <c:ext xmlns:c15="http://schemas.microsoft.com/office/drawing/2012/chart" uri="{02D57815-91ED-43cb-92C2-25804820EDAC}">
              <c15:datalabelsRange>
                <c15:f>Sheet1!$E$2:$E$10</c15:f>
                <c15:dlblRangeCache>
                  <c:ptCount val="9"/>
                  <c:pt idx="0">
                    <c:v>Helioca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6"/>
          <c:min val="44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9771B30-1411-4203-AC29-7833A82E68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D89404-7CCE-4815-9042-13C9F709A3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2765EC4-9948-49F3-97C7-00A52D14C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F7F93A9-D185-4903-9F99-DE3916996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219F959-FDED-4732-A7FE-6C62C4E23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F7D1FF6-0807-451A-BAC9-FBFD2B695C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AD4E5E3-D67D-4D25-99F3-1F9FC25B5A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C9345FB-97CB-4484-BD0C-7EF74FD5FE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2.5838</c:v>
                </c:pt>
                <c:pt idx="1">
                  <c:v>96.877300000000005</c:v>
                </c:pt>
                <c:pt idx="2">
                  <c:v>239.56800000000001</c:v>
                </c:pt>
                <c:pt idx="3">
                  <c:v>79.946200000000005</c:v>
                </c:pt>
                <c:pt idx="4">
                  <c:v>213.35749999999999</c:v>
                </c:pt>
              </c:numCache>
            </c:numRef>
          </c:xVal>
          <c:yVal>
            <c:numRef>
              <c:f>Sheet1!$B$2:$B$6</c:f>
              <c:numCache>
                <c:formatCode>General</c:formatCode>
                <c:ptCount val="5"/>
                <c:pt idx="0">
                  <c:v>2.4159999999999999</c:v>
                </c:pt>
                <c:pt idx="1">
                  <c:v>0.71699999999999997</c:v>
                </c:pt>
                <c:pt idx="2">
                  <c:v>0.90400000000000003</c:v>
                </c:pt>
                <c:pt idx="3">
                  <c:v>0.61099999999999999</c:v>
                </c:pt>
                <c:pt idx="4">
                  <c:v>0.875</c:v>
                </c:pt>
              </c:numCache>
            </c:numRef>
          </c:yVal>
          <c:bubbleSize>
            <c:numRef>
              <c:f>Sheet1!$C$2:$C$6</c:f>
              <c:numCache>
                <c:formatCode>General</c:formatCode>
                <c:ptCount val="5"/>
                <c:pt idx="0">
                  <c:v>3097552</c:v>
                </c:pt>
                <c:pt idx="1">
                  <c:v>1076307</c:v>
                </c:pt>
                <c:pt idx="2">
                  <c:v>1038048</c:v>
                </c:pt>
                <c:pt idx="3">
                  <c:v>575133</c:v>
                </c:pt>
                <c:pt idx="4">
                  <c:v>393858</c:v>
                </c:pt>
              </c:numCache>
            </c:numRef>
          </c:bubbleSize>
          <c:bubble3D val="0"/>
          <c:extLst>
            <c:ext xmlns:c15="http://schemas.microsoft.com/office/drawing/2012/chart" uri="{02D57815-91ED-43cb-92C2-25804820EDAC}">
              <c15:datalabelsRange>
                <c15:f>Sheet1!$E$2:$E$10</c15:f>
                <c15:dlblRangeCache>
                  <c:ptCount val="9"/>
                  <c:pt idx="0">
                    <c:v>Nivea</c:v>
                  </c:pt>
                  <c:pt idx="1">
                    <c:v>Nuvel</c:v>
                  </c:pt>
                  <c:pt idx="2">
                    <c:v>Banana Boat</c:v>
                  </c:pt>
                  <c:pt idx="3">
                    <c:v>Caribbean Beach</c:v>
                  </c:pt>
                  <c:pt idx="4">
                    <c:v>Hawaiian Trop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1"/>
          <c:min val="6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BA0D62C-8F02-44D8-9F32-E129178D6E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61F4ECBC-B25C-4C57-98DE-2EFD98F91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32426D92-F265-431B-A4FE-30063E850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D7BA291E-E964-4132-BCAB-243460BEE8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301E8DA6-9241-42FC-8BD1-CDA0890C9D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67D130A7-4E8B-4A10-95FE-7A6264B24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C68A4A3D-9DFB-417A-859F-4BE8D1522A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C613E882-B7AE-480C-BF2B-8162BA986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77.00709999999998</c:v>
                </c:pt>
              </c:numCache>
            </c:numRef>
          </c:xVal>
          <c:yVal>
            <c:numRef>
              <c:f>Sheet1!$B$2:$B$2</c:f>
              <c:numCache>
                <c:formatCode>General</c:formatCode>
                <c:ptCount val="1"/>
                <c:pt idx="0">
                  <c:v>1</c:v>
                </c:pt>
              </c:numCache>
            </c:numRef>
          </c:yVal>
          <c:bubbleSize>
            <c:numRef>
              <c:f>Sheet1!$C$2:$C$2</c:f>
              <c:numCache>
                <c:formatCode>General</c:formatCode>
                <c:ptCount val="1"/>
                <c:pt idx="0">
                  <c:v>1204704</c:v>
                </c:pt>
              </c:numCache>
            </c:numRef>
          </c:bubbleSize>
          <c:bubble3D val="0"/>
          <c:extLst>
            <c:ext xmlns:c15="http://schemas.microsoft.com/office/drawing/2012/chart" uri="{02D57815-91ED-43cb-92C2-25804820EDAC}">
              <c15:datalabelsRange>
                <c15:f>Sheet1!$E$2:$E$10</c15:f>
                <c15:dlblRangeCache>
                  <c:ptCount val="9"/>
                  <c:pt idx="0">
                    <c:v>Nivea</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2"/>
          <c:min val="22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A2BB819-1388-47C1-893F-4C4DE40C25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706462F0-A847-4E60-BCFB-44CDEBA15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A15B2332-9215-4720-830E-15DFA62E0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969349F-2916-449B-B933-642B4A079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0D263954-68AD-4B68-88EF-E38FE9649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EA0F7576-AD8D-4CA9-B416-1B9F807D2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AE007C84-5DCF-4DCB-825D-E389626380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2625D967-4B6E-439A-BE19-C5D92C4F2C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90.7534</c:v>
                </c:pt>
                <c:pt idx="1">
                  <c:v>174.9836</c:v>
                </c:pt>
                <c:pt idx="2">
                  <c:v>99.850999999999999</c:v>
                </c:pt>
                <c:pt idx="3">
                  <c:v>205.88</c:v>
                </c:pt>
              </c:numCache>
            </c:numRef>
          </c:xVal>
          <c:yVal>
            <c:numRef>
              <c:f>Sheet1!$B$2:$B$5</c:f>
              <c:numCache>
                <c:formatCode>General</c:formatCode>
                <c:ptCount val="4"/>
                <c:pt idx="0">
                  <c:v>1.002</c:v>
                </c:pt>
                <c:pt idx="1">
                  <c:v>0.91300000000000003</c:v>
                </c:pt>
                <c:pt idx="2">
                  <c:v>1.069</c:v>
                </c:pt>
                <c:pt idx="3">
                  <c:v>1.244</c:v>
                </c:pt>
              </c:numCache>
            </c:numRef>
          </c:yVal>
          <c:bubbleSize>
            <c:numRef>
              <c:f>Sheet1!$C$2:$C$5</c:f>
              <c:numCache>
                <c:formatCode>General</c:formatCode>
                <c:ptCount val="4"/>
                <c:pt idx="0">
                  <c:v>4361194</c:v>
                </c:pt>
                <c:pt idx="1">
                  <c:v>309896</c:v>
                </c:pt>
                <c:pt idx="2">
                  <c:v>207790</c:v>
                </c:pt>
                <c:pt idx="3">
                  <c:v>5147</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7"/>
          <c:min val="8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BC14D40A-1629-46FF-B06F-109D643C5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C63B8123-A986-4A61-A9AE-4E4B4CE18A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6B9EDB1B-58FA-49B4-BED2-AB3910498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8CF0D8B9-48A2-49E1-84C9-E5B4287026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320F504F-CA9E-4788-B38D-810CA9746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CFF1AC10-F922-4A3A-9DC5-79240CA70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89BF55E0-A882-45EB-AB55-836EE08F6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1231326B-3D1D-484E-8D3A-D4668657A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65.83749999999998</c:v>
                </c:pt>
                <c:pt idx="1">
                  <c:v>350.61860000000001</c:v>
                </c:pt>
              </c:numCache>
            </c:numRef>
          </c:xVal>
          <c:yVal>
            <c:numRef>
              <c:f>Sheet1!$B$2:$B$3</c:f>
              <c:numCache>
                <c:formatCode>General</c:formatCode>
                <c:ptCount val="2"/>
                <c:pt idx="0">
                  <c:v>1.0169999999999999</c:v>
                </c:pt>
                <c:pt idx="1">
                  <c:v>0.86699999999999999</c:v>
                </c:pt>
              </c:numCache>
            </c:numRef>
          </c:yVal>
          <c:bubbleSize>
            <c:numRef>
              <c:f>Sheet1!$C$2:$C$3</c:f>
              <c:numCache>
                <c:formatCode>General</c:formatCode>
                <c:ptCount val="2"/>
                <c:pt idx="0">
                  <c:v>310764</c:v>
                </c:pt>
                <c:pt idx="1">
                  <c:v>34010</c:v>
                </c:pt>
              </c:numCache>
            </c:numRef>
          </c:bubbleSize>
          <c:bubble3D val="0"/>
          <c:extLst>
            <c:ext xmlns:c15="http://schemas.microsoft.com/office/drawing/2012/chart" uri="{02D57815-91ED-43cb-92C2-25804820EDAC}">
              <c15:datalabelsRange>
                <c15:f>Sheet1!$E$2:$E$10</c15:f>
                <c15:dlblRangeCache>
                  <c:ptCount val="9"/>
                  <c:pt idx="0">
                    <c:v>Banana Boat</c:v>
                  </c:pt>
                  <c:pt idx="1">
                    <c:v>Neutrogena</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1"/>
          <c:min val="21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D284054-2335-4249-A8B5-64043DF46F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FF37830-FF08-49FF-B991-CFE42D1C74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D5E29A9-CD1A-4C85-A3B4-67CC8B68D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D378C6B-CE18-47FF-9A45-0DF506B3E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08AE656-E17D-4EA8-823E-0D32618F3B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ADE68D7-A716-447C-864B-27F0343DD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D605BE6-DDB6-4B33-AEE1-FD0326E27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0570369-2362-4DEC-9750-F8A995F1F8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45.64230000000001</c:v>
                </c:pt>
              </c:numCache>
            </c:numRef>
          </c:xVal>
          <c:yVal>
            <c:numRef>
              <c:f>Sheet1!$B$2:$B$2</c:f>
              <c:numCache>
                <c:formatCode>General</c:formatCode>
                <c:ptCount val="1"/>
                <c:pt idx="0">
                  <c:v>1</c:v>
                </c:pt>
              </c:numCache>
            </c:numRef>
          </c:yVal>
          <c:bubbleSize>
            <c:numRef>
              <c:f>Sheet1!$C$2:$C$2</c:f>
              <c:numCache>
                <c:formatCode>General</c:formatCode>
                <c:ptCount val="1"/>
                <c:pt idx="0">
                  <c:v>90642</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5"/>
          <c:min val="19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0959B12-E897-4D50-919B-F48A4530E4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E57A9668-3C34-422C-957B-81436EEB20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E08C437B-8B78-4D8F-9A83-1788C09B8F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3C4216BE-CB51-49A1-9BDC-B1EB046C7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CEFC4F2F-70D3-4E13-8333-E3DFB9A355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7708BC79-7966-43DB-91F0-FB3698214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4599A0EF-4C76-45F4-A0B5-21B8CF8E19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A44730C7-3450-45EE-BF53-708F43D280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427.95409999999998</c:v>
                </c:pt>
                <c:pt idx="1">
                  <c:v>291.05380000000002</c:v>
                </c:pt>
                <c:pt idx="2">
                  <c:v>195.04</c:v>
                </c:pt>
                <c:pt idx="3">
                  <c:v>160.56739999999999</c:v>
                </c:pt>
              </c:numCache>
            </c:numRef>
          </c:xVal>
          <c:yVal>
            <c:numRef>
              <c:f>Sheet1!$B$2:$B$5</c:f>
              <c:numCache>
                <c:formatCode>General</c:formatCode>
                <c:ptCount val="4"/>
                <c:pt idx="0">
                  <c:v>4.1500000000000004</c:v>
                </c:pt>
                <c:pt idx="1">
                  <c:v>1.1120000000000001</c:v>
                </c:pt>
                <c:pt idx="2">
                  <c:v>0.65400000000000003</c:v>
                </c:pt>
                <c:pt idx="3">
                  <c:v>0.253</c:v>
                </c:pt>
              </c:numCache>
            </c:numRef>
          </c:yVal>
          <c:bubbleSize>
            <c:numRef>
              <c:f>Sheet1!$C$2:$C$5</c:f>
              <c:numCache>
                <c:formatCode>General</c:formatCode>
                <c:ptCount val="4"/>
                <c:pt idx="0">
                  <c:v>1947191</c:v>
                </c:pt>
                <c:pt idx="1">
                  <c:v>400490</c:v>
                </c:pt>
                <c:pt idx="2">
                  <c:v>121900</c:v>
                </c:pt>
                <c:pt idx="3">
                  <c:v>57162</c:v>
                </c:pt>
              </c:numCache>
            </c:numRef>
          </c:bubbleSize>
          <c:bubble3D val="0"/>
          <c:extLst>
            <c:ext xmlns:c15="http://schemas.microsoft.com/office/drawing/2012/chart" uri="{02D57815-91ED-43cb-92C2-25804820EDAC}">
              <c15:datalabelsRange>
                <c15:f>Sheet1!$E$2:$E$10</c15:f>
                <c15:dlblRangeCache>
                  <c:ptCount val="9"/>
                  <c:pt idx="0">
                    <c:v>Isdin</c:v>
                  </c:pt>
                  <c:pt idx="1">
                    <c:v>Eclipsol</c:v>
                  </c:pt>
                  <c:pt idx="2">
                    <c:v>Neutrogena</c:v>
                  </c:pt>
                  <c:pt idx="3">
                    <c:v>Cicatricur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4"/>
          <c:min val="12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527284-3EEB-4105-84F0-62A4C7A0AC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C29FEAD-1D6E-4475-AD52-565A4EC8E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D076E6C-736C-4749-A14F-8D0695655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245DC55-0715-46CD-A1D8-1662E64DB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9C90879-8F80-4D66-AE58-A93F9B37CD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4CC906-E66F-4463-8FBC-DA62B15681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D4161ED-10C7-4BBB-AC48-0D745FB0B1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62C4846-BA33-424A-98A9-09B643A0C5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6.6892</c:v>
                </c:pt>
                <c:pt idx="1">
                  <c:v>451.89089999999999</c:v>
                </c:pt>
                <c:pt idx="2">
                  <c:v>209.54249999999999</c:v>
                </c:pt>
                <c:pt idx="3">
                  <c:v>80.124899999999997</c:v>
                </c:pt>
                <c:pt idx="4">
                  <c:v>96.877300000000005</c:v>
                </c:pt>
                <c:pt idx="5">
                  <c:v>173.3228</c:v>
                </c:pt>
                <c:pt idx="6">
                  <c:v>291.05380000000002</c:v>
                </c:pt>
                <c:pt idx="7">
                  <c:v>205.88</c:v>
                </c:pt>
              </c:numCache>
            </c:numRef>
          </c:xVal>
          <c:yVal>
            <c:numRef>
              <c:f>Sheet1!$B$2:$B$9</c:f>
              <c:numCache>
                <c:formatCode>General</c:formatCode>
                <c:ptCount val="8"/>
                <c:pt idx="0">
                  <c:v>1.3069999999999999</c:v>
                </c:pt>
                <c:pt idx="1">
                  <c:v>3.5779999999999998</c:v>
                </c:pt>
                <c:pt idx="2">
                  <c:v>0.88200000000000001</c:v>
                </c:pt>
                <c:pt idx="3">
                  <c:v>0.48299999999999998</c:v>
                </c:pt>
                <c:pt idx="4">
                  <c:v>0.60299999999999998</c:v>
                </c:pt>
                <c:pt idx="5">
                  <c:v>0.80300000000000005</c:v>
                </c:pt>
                <c:pt idx="6">
                  <c:v>1.7410000000000001</c:v>
                </c:pt>
                <c:pt idx="7">
                  <c:v>1.2829999999999999</c:v>
                </c:pt>
              </c:numCache>
            </c:numRef>
          </c:yVal>
          <c:bubbleSize>
            <c:numRef>
              <c:f>Sheet1!$C$2:$C$9</c:f>
              <c:numCache>
                <c:formatCode>General</c:formatCode>
                <c:ptCount val="8"/>
                <c:pt idx="0">
                  <c:v>8663450</c:v>
                </c:pt>
                <c:pt idx="1">
                  <c:v>2920119</c:v>
                </c:pt>
                <c:pt idx="2">
                  <c:v>2109674</c:v>
                </c:pt>
                <c:pt idx="3">
                  <c:v>1209966</c:v>
                </c:pt>
                <c:pt idx="4">
                  <c:v>1076307</c:v>
                </c:pt>
                <c:pt idx="5">
                  <c:v>983087</c:v>
                </c:pt>
                <c:pt idx="6">
                  <c:v>400490</c:v>
                </c:pt>
                <c:pt idx="7">
                  <c:v>5147</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Banana Boat</c:v>
                  </c:pt>
                  <c:pt idx="3">
                    <c:v>Caribbean Beach</c:v>
                  </c:pt>
                  <c:pt idx="4">
                    <c:v>Nuvel</c:v>
                  </c:pt>
                  <c:pt idx="5">
                    <c:v>Hawaiian Tropic</c:v>
                  </c:pt>
                  <c:pt idx="6">
                    <c:v>Eclipsol</c:v>
                  </c:pt>
                  <c:pt idx="7">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2"/>
          <c:min val="6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5ED5388-B6AD-4644-916B-0218EEB94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9922BCB8-15B3-491F-9757-290FBF1E80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8325209A-5512-4035-95CC-EEED2A421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969B5BD5-155A-47F3-B25E-2E7FF0B2C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899C4115-F77E-4BF8-B047-8248146BBD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61197791-6304-4933-8E45-A3A22B2D57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369EE993-2617-4131-A427-C9F6C01CB6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F045488F-B0ED-49E5-A68A-31359B9AD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650.38699999999994</c:v>
                </c:pt>
              </c:numCache>
            </c:numRef>
          </c:xVal>
          <c:yVal>
            <c:numRef>
              <c:f>Sheet1!$B$2:$B$2</c:f>
              <c:numCache>
                <c:formatCode>General</c:formatCode>
                <c:ptCount val="1"/>
                <c:pt idx="0">
                  <c:v>1</c:v>
                </c:pt>
              </c:numCache>
            </c:numRef>
          </c:yVal>
          <c:bubbleSize>
            <c:numRef>
              <c:f>Sheet1!$C$2:$C$2</c:f>
              <c:numCache>
                <c:formatCode>General</c:formatCode>
                <c:ptCount val="1"/>
                <c:pt idx="0">
                  <c:v>290723</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0"/>
          <c:min val="52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67493187-A381-4C8B-98C2-34C89123D3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CA-4C16-90F6-A0D9A3D8DA8E}"/>
                </c:ext>
              </c:extLst>
            </c:dLbl>
            <c:dLbl>
              <c:idx val="2"/>
              <c:tx>
                <c:rich>
                  <a:bodyPr/>
                  <a:lstStyle/>
                  <a:p>
                    <a:fld id="{3EE605AC-9751-4B6D-93EE-0DCA3D9E8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157A3BD4-2693-4B77-BEB3-60FAF34EAF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5B4748B1-C114-46DD-97C9-4420CF070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DCD472A3-1BEA-45DD-B309-FD9CB250F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71ECB8ED-4641-4D76-8BEA-5D69E7C58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C3D538F8-674D-4C47-9488-B1BBAC35D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34AED088-C827-47A0-89FB-1AF3B3B40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65.66890000000001</c:v>
                </c:pt>
              </c:numCache>
            </c:numRef>
          </c:xVal>
          <c:yVal>
            <c:numRef>
              <c:f>Sheet1!$B$2:$B$2</c:f>
              <c:numCache>
                <c:formatCode>General</c:formatCode>
                <c:ptCount val="1"/>
                <c:pt idx="0">
                  <c:v>1</c:v>
                </c:pt>
              </c:numCache>
            </c:numRef>
          </c:yVal>
          <c:bubbleSize>
            <c:numRef>
              <c:f>Sheet1!$C$2:$C$2</c:f>
              <c:numCache>
                <c:formatCode>General</c:formatCode>
                <c:ptCount val="1"/>
                <c:pt idx="0">
                  <c:v>682205</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59"/>
          <c:min val="37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21CBE21-349A-45DA-9577-11BB25E13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8638D31-6807-4BDD-A3A2-99D21D1C1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29BD815-2616-4113-B4FC-66CE5B6ECE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BB0143E-E5E4-422D-BF0B-B62FA32E73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9D254E1-B7DD-4481-8E13-15AD3E6B2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075CA59-3E6F-47E5-AF0A-61B2B8929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F3813DC-8E4A-4823-8F63-49EF01C37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0701089-3451-48F7-B1BB-A02B597FC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481.0222</c:v>
                </c:pt>
                <c:pt idx="1">
                  <c:v>173.14</c:v>
                </c:pt>
              </c:numCache>
            </c:numRef>
          </c:xVal>
          <c:yVal>
            <c:numRef>
              <c:f>Sheet1!$B$2:$B$3</c:f>
              <c:numCache>
                <c:formatCode>General</c:formatCode>
                <c:ptCount val="2"/>
                <c:pt idx="0">
                  <c:v>0.95199999999999996</c:v>
                </c:pt>
                <c:pt idx="1">
                  <c:v>1.143</c:v>
                </c:pt>
              </c:numCache>
            </c:numRef>
          </c:yVal>
          <c:bubbleSize>
            <c:numRef>
              <c:f>Sheet1!$C$2:$C$3</c:f>
              <c:numCache>
                <c:formatCode>General</c:formatCode>
                <c:ptCount val="2"/>
                <c:pt idx="0">
                  <c:v>21646</c:v>
                </c:pt>
                <c:pt idx="1">
                  <c:v>8657</c:v>
                </c:pt>
              </c:numCache>
            </c:numRef>
          </c:bubbleSize>
          <c:bubble3D val="0"/>
          <c:extLst>
            <c:ext xmlns:c15="http://schemas.microsoft.com/office/drawing/2012/chart" uri="{02D57815-91ED-43cb-92C2-25804820EDAC}">
              <c15:datalabelsRange>
                <c15:f>Sheet1!$E$2:$E$10</c15:f>
                <c15:dlblRangeCache>
                  <c:ptCount val="9"/>
                  <c:pt idx="0">
                    <c:v>Eucerin</c:v>
                  </c:pt>
                  <c:pt idx="1">
                    <c:v>Loreal Par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77"/>
          <c:min val="13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A4A7F03-A3C5-4A41-BC09-007D80B5F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C04F2E68-AF4F-4971-B192-797D6C467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5E87B7F-A518-4ECA-B879-90921F623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491FE683-0C71-4EFC-B4C0-CAF783D69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CC35279C-F86A-47FE-A448-34776CB544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D688D4F6-E54E-445D-91D7-29AF3F4AE0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FE1F94BF-8B02-4F5A-88A4-B34BFC2D9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C892AFC8-07A1-450A-BDCC-320007F541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0.287499999999994</c:v>
                </c:pt>
                <c:pt idx="1">
                  <c:v>262.4024</c:v>
                </c:pt>
                <c:pt idx="2">
                  <c:v>100.1447</c:v>
                </c:pt>
              </c:numCache>
            </c:numRef>
          </c:xVal>
          <c:yVal>
            <c:numRef>
              <c:f>Sheet1!$B$2:$B$4</c:f>
              <c:numCache>
                <c:formatCode>General</c:formatCode>
                <c:ptCount val="3"/>
                <c:pt idx="0">
                  <c:v>0.89300000000000002</c:v>
                </c:pt>
                <c:pt idx="1">
                  <c:v>1.7010000000000001</c:v>
                </c:pt>
                <c:pt idx="2">
                  <c:v>0.83199999999999996</c:v>
                </c:pt>
              </c:numCache>
            </c:numRef>
          </c:yVal>
          <c:bubbleSize>
            <c:numRef>
              <c:f>Sheet1!$C$2:$C$4</c:f>
              <c:numCache>
                <c:formatCode>General</c:formatCode>
                <c:ptCount val="3"/>
                <c:pt idx="0">
                  <c:v>634833</c:v>
                </c:pt>
                <c:pt idx="1">
                  <c:v>194965</c:v>
                </c:pt>
                <c:pt idx="2">
                  <c:v>22833</c:v>
                </c:pt>
              </c:numCache>
            </c:numRef>
          </c:bubbleSize>
          <c:bubble3D val="0"/>
          <c:extLst>
            <c:ext xmlns:c15="http://schemas.microsoft.com/office/drawing/2012/chart" uri="{02D57815-91ED-43cb-92C2-25804820EDAC}">
              <c15:datalabelsRange>
                <c15:f>Sheet1!$E$2:$E$10</c15:f>
                <c15:dlblRangeCache>
                  <c:ptCount val="9"/>
                  <c:pt idx="0">
                    <c:v>Caribbean Beach</c:v>
                  </c:pt>
                  <c:pt idx="1">
                    <c:v>Banana Boat</c:v>
                  </c:pt>
                  <c:pt idx="2">
                    <c:v>Coppertone</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5"/>
          <c:min val="6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36BF67CC-F5D7-4FBC-8B20-696FDEAFE8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9235677-C195-4BCC-A439-ABCD2F362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CB264E2F-DADD-4C51-BE05-9D24C9A36D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122ABDEA-9815-48E3-8A0F-324D953C9F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EFBB0F31-1B80-40D7-9C21-DE6B37395E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309CE841-01A4-40FF-A1AB-4955AC9B7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3BA4C5EF-0061-4015-B0AC-75D6B54084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B9A76564-B300-4341-86E3-9D21FEFE61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35.92850000000001</c:v>
                </c:pt>
                <c:pt idx="1">
                  <c:v>191.65270000000001</c:v>
                </c:pt>
              </c:numCache>
            </c:numRef>
          </c:xVal>
          <c:yVal>
            <c:numRef>
              <c:f>Sheet1!$B$2:$B$3</c:f>
              <c:numCache>
                <c:formatCode>General</c:formatCode>
                <c:ptCount val="2"/>
                <c:pt idx="0">
                  <c:v>0.99399999999999999</c:v>
                </c:pt>
                <c:pt idx="1">
                  <c:v>1.012</c:v>
                </c:pt>
              </c:numCache>
            </c:numRef>
          </c:yVal>
          <c:bubbleSize>
            <c:numRef>
              <c:f>Sheet1!$C$2:$C$3</c:f>
              <c:numCache>
                <c:formatCode>General</c:formatCode>
                <c:ptCount val="2"/>
                <c:pt idx="0">
                  <c:v>279333</c:v>
                </c:pt>
                <c:pt idx="1">
                  <c:v>151214</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0"/>
          <c:min val="10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065843F0-492D-4826-86A8-CBC2A55F37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5128C19F-493D-4CF9-963E-A122C37AAD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A3CEBA20-5FBF-4EEA-82CA-8DDCC31A4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890C8962-21C8-418C-83F8-502AC78890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3EBA9840-4F15-47FC-9741-782A23826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8E29B626-564F-4F77-A60A-B1A572C59D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08468DD9-07C8-4713-AF88-3C5DA4F40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48D57AD7-85D4-4E5C-8F8C-09EFA5F313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17.09649999999999</c:v>
                </c:pt>
                <c:pt idx="1">
                  <c:v>188.4854</c:v>
                </c:pt>
              </c:numCache>
            </c:numRef>
          </c:xVal>
          <c:yVal>
            <c:numRef>
              <c:f>Sheet1!$B$2:$B$3</c:f>
              <c:numCache>
                <c:formatCode>General</c:formatCode>
                <c:ptCount val="2"/>
                <c:pt idx="0">
                  <c:v>1.1040000000000001</c:v>
                </c:pt>
                <c:pt idx="1">
                  <c:v>0.83199999999999996</c:v>
                </c:pt>
              </c:numCache>
            </c:numRef>
          </c:yVal>
          <c:bubbleSize>
            <c:numRef>
              <c:f>Sheet1!$C$2:$C$3</c:f>
              <c:numCache>
                <c:formatCode>General</c:formatCode>
                <c:ptCount val="2"/>
                <c:pt idx="0">
                  <c:v>206893</c:v>
                </c:pt>
                <c:pt idx="1">
                  <c:v>51645</c:v>
                </c:pt>
              </c:numCache>
            </c:numRef>
          </c:bubbleSize>
          <c:bubble3D val="0"/>
          <c:extLst>
            <c:ext xmlns:c15="http://schemas.microsoft.com/office/drawing/2012/chart" uri="{02D57815-91ED-43cb-92C2-25804820EDAC}">
              <c15:datalabelsRange>
                <c15:f>Sheet1!$E$2:$E$10</c15:f>
                <c15:dlblRangeCache>
                  <c:ptCount val="9"/>
                  <c:pt idx="0">
                    <c:v>Banana Boat</c:v>
                  </c:pt>
                  <c:pt idx="1">
                    <c:v>Copperton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1"/>
          <c:min val="15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1CC256-7B24-485E-9612-03DA9FE7B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6B411D-0F4C-4CE3-93BE-6C8B50178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B75716-4E49-400E-9C4A-61C9A4AE2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142C5EB-0FFA-4822-8907-029ACEB80D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F97E0E8-4D2A-467E-BC6E-CB3AC5A02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94FCC26-E5F6-43F2-BA93-0F5CAC187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FEA61E3-D27C-4110-AAB5-0C2F0C9AE8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B6EBFB1-25D7-4C4F-A860-8C23802F12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3.6815</c:v>
                </c:pt>
                <c:pt idx="1">
                  <c:v>238.27600000000001</c:v>
                </c:pt>
                <c:pt idx="2">
                  <c:v>89.001400000000004</c:v>
                </c:pt>
                <c:pt idx="3">
                  <c:v>232.46729999999999</c:v>
                </c:pt>
                <c:pt idx="4">
                  <c:v>74.360500000000002</c:v>
                </c:pt>
                <c:pt idx="5">
                  <c:v>185.8261</c:v>
                </c:pt>
              </c:numCache>
            </c:numRef>
          </c:xVal>
          <c:yVal>
            <c:numRef>
              <c:f>Sheet1!$B$2:$B$7</c:f>
              <c:numCache>
                <c:formatCode>General</c:formatCode>
                <c:ptCount val="6"/>
                <c:pt idx="0">
                  <c:v>1.7609999999999999</c:v>
                </c:pt>
                <c:pt idx="1">
                  <c:v>0.88600000000000001</c:v>
                </c:pt>
                <c:pt idx="2">
                  <c:v>0.51300000000000001</c:v>
                </c:pt>
                <c:pt idx="3">
                  <c:v>0.79500000000000004</c:v>
                </c:pt>
                <c:pt idx="4">
                  <c:v>0.47499999999999998</c:v>
                </c:pt>
                <c:pt idx="5">
                  <c:v>3.6080000000000001</c:v>
                </c:pt>
              </c:numCache>
            </c:numRef>
          </c:yVal>
          <c:bubbleSize>
            <c:numRef>
              <c:f>Sheet1!$C$2:$C$7</c:f>
              <c:numCache>
                <c:formatCode>General</c:formatCode>
                <c:ptCount val="6"/>
                <c:pt idx="0">
                  <c:v>216369464</c:v>
                </c:pt>
                <c:pt idx="1">
                  <c:v>72656085</c:v>
                </c:pt>
                <c:pt idx="2">
                  <c:v>45796727</c:v>
                </c:pt>
                <c:pt idx="3">
                  <c:v>31335423</c:v>
                </c:pt>
                <c:pt idx="4">
                  <c:v>23746346</c:v>
                </c:pt>
                <c:pt idx="5">
                  <c:v>2068932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Caribbean Beach</c:v>
                  </c:pt>
                  <c:pt idx="3">
                    <c:v>Banana Boat</c:v>
                  </c:pt>
                  <c:pt idx="4">
                    <c:v>Nuvel</c:v>
                  </c:pt>
                  <c:pt idx="5">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2"/>
          <c:min val="59"/>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785510F9-A8EE-4D6F-976B-79F7D2768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C7CD1D96-2453-497E-8D27-46B935BF4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051767BE-E2F7-49D5-BF4F-37B6A4030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C6958E93-0632-45B7-8718-45E0DD271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D297CAAA-964F-45A1-841C-804CAFA45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E9419451-D0B5-40E9-A2D3-147B53DCAD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F9A0FDEC-7C5F-4E8E-A908-4E813BCF91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31F3D608-E45D-46F5-A685-868FA0625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43.3535</c:v>
                </c:pt>
                <c:pt idx="1">
                  <c:v>269.45240000000001</c:v>
                </c:pt>
              </c:numCache>
            </c:numRef>
          </c:xVal>
          <c:yVal>
            <c:numRef>
              <c:f>Sheet1!$B$2:$B$3</c:f>
              <c:numCache>
                <c:formatCode>General</c:formatCode>
                <c:ptCount val="2"/>
                <c:pt idx="0">
                  <c:v>1.0029999999999999</c:v>
                </c:pt>
                <c:pt idx="1">
                  <c:v>0.91100000000000003</c:v>
                </c:pt>
              </c:numCache>
            </c:numRef>
          </c:yVal>
          <c:bubbleSize>
            <c:numRef>
              <c:f>Sheet1!$C$2:$C$3</c:f>
              <c:numCache>
                <c:formatCode>General</c:formatCode>
                <c:ptCount val="2"/>
                <c:pt idx="0">
                  <c:v>11123445</c:v>
                </c:pt>
                <c:pt idx="1">
                  <c:v>676056</c:v>
                </c:pt>
              </c:numCache>
            </c:numRef>
          </c:bubbleSize>
          <c:bubble3D val="0"/>
          <c:extLst>
            <c:ext xmlns:c15="http://schemas.microsoft.com/office/drawing/2012/chart" uri="{02D57815-91ED-43cb-92C2-25804820EDAC}">
              <c15:datalabelsRange>
                <c15:f>Sheet1!$E$2:$E$10</c15:f>
                <c15:dlblRangeCache>
                  <c:ptCount val="9"/>
                  <c:pt idx="0">
                    <c:v>Nivea</c:v>
                  </c:pt>
                  <c:pt idx="1">
                    <c:v>Banana Boa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3"/>
          <c:min val="195"/>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1835C9C0-B843-4D69-8719-FFCC3D1BC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C38778FB-70D2-468E-9397-6A566E7BC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EBDCE526-DD1C-40D2-AC2F-DE7C24242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A63AE9BE-B2A5-4421-8C8B-2EF80500B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3C2CF73F-D7DA-4D49-9D71-933760869C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D8A244D5-6FB1-4F78-B38D-FFC0E0A26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1BCFA0B1-FC2F-4614-9011-2BE593E439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F7B15494-2ECA-4DC0-B9B4-BC66FF3D8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58.05040000000002</c:v>
                </c:pt>
              </c:numCache>
            </c:numRef>
          </c:xVal>
          <c:yVal>
            <c:numRef>
              <c:f>Sheet1!$B$2:$B$2</c:f>
              <c:numCache>
                <c:formatCode>General</c:formatCode>
                <c:ptCount val="1"/>
                <c:pt idx="0">
                  <c:v>1</c:v>
                </c:pt>
              </c:numCache>
            </c:numRef>
          </c:yVal>
          <c:bubbleSize>
            <c:numRef>
              <c:f>Sheet1!$C$2:$C$2</c:f>
              <c:numCache>
                <c:formatCode>General</c:formatCode>
                <c:ptCount val="1"/>
                <c:pt idx="0">
                  <c:v>91166125</c:v>
                </c:pt>
              </c:numCache>
            </c:numRef>
          </c:bubbleSize>
          <c:bubble3D val="0"/>
          <c:extLst>
            <c:ext xmlns:c15="http://schemas.microsoft.com/office/drawing/2012/chart" uri="{02D57815-91ED-43cb-92C2-25804820EDAC}">
              <c15:datalabelsRange>
                <c15:f>Sheet1!$E$2:$E$10</c15:f>
                <c15:dlblRangeCache>
                  <c:ptCount val="9"/>
                  <c:pt idx="0">
                    <c:v>Nivea</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0"/>
          <c:min val="20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6BFD99F0-C13E-4C44-A1AD-6600C8FD6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9AEDACC8-E198-4887-9FAC-052E7C752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BB60C53D-5232-46EC-BD6E-A980CC7A2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99AF9A9B-7422-4B7C-9561-5F545FF667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D74BC905-5513-4053-9FFB-0C2B4D50E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7921D43E-35BB-4C21-B27D-BCF2E038D3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831DE76E-B855-4245-885E-DCF0036FA0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BB645429-478F-477C-B67B-8298257747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36.91249999999999</c:v>
                </c:pt>
                <c:pt idx="1">
                  <c:v>198.9674</c:v>
                </c:pt>
                <c:pt idx="2">
                  <c:v>179.7756</c:v>
                </c:pt>
                <c:pt idx="3">
                  <c:v>206.30250000000001</c:v>
                </c:pt>
              </c:numCache>
            </c:numRef>
          </c:xVal>
          <c:yVal>
            <c:numRef>
              <c:f>Sheet1!$B$2:$B$5</c:f>
              <c:numCache>
                <c:formatCode>General</c:formatCode>
                <c:ptCount val="4"/>
                <c:pt idx="0">
                  <c:v>1.006</c:v>
                </c:pt>
                <c:pt idx="1">
                  <c:v>0.94699999999999995</c:v>
                </c:pt>
                <c:pt idx="2">
                  <c:v>0.93</c:v>
                </c:pt>
                <c:pt idx="3">
                  <c:v>3.02</c:v>
                </c:pt>
              </c:numCache>
            </c:numRef>
          </c:yVal>
          <c:bubbleSize>
            <c:numRef>
              <c:f>Sheet1!$C$2:$C$5</c:f>
              <c:numCache>
                <c:formatCode>General</c:formatCode>
                <c:ptCount val="4"/>
                <c:pt idx="0">
                  <c:v>204773926</c:v>
                </c:pt>
                <c:pt idx="1">
                  <c:v>122783796</c:v>
                </c:pt>
                <c:pt idx="2">
                  <c:v>43021549</c:v>
                </c:pt>
                <c:pt idx="3">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4"/>
          <c:min val="14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7/02/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32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32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32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32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32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33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33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33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33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33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33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33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33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33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34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34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34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34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34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34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35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35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35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35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35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35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35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35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35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35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36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36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36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36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36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36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36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36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36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37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37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2/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2/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2/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2/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8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8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8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8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8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8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8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8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88.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8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oleObject" Target="../embeddings/oleObject27.bin"/><Relationship Id="rId7" Type="http://schemas.openxmlformats.org/officeDocument/2006/relationships/chart" Target="../charts/chart1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90.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9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92.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93.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94.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95.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96.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9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98.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9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oleObject" Target="../embeddings/oleObject27.bin"/><Relationship Id="rId7" Type="http://schemas.openxmlformats.org/officeDocument/2006/relationships/chart" Target="../charts/chart17.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200.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20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202.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203.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204.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205.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206.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207.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208.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20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8" Type="http://schemas.openxmlformats.org/officeDocument/2006/relationships/chart" Target="../charts/chart22.xml"/><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210.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21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212.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213.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214.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215.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216.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217.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218.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219.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8" Type="http://schemas.openxmlformats.org/officeDocument/2006/relationships/chart" Target="../charts/chart26.xml"/><Relationship Id="rId3" Type="http://schemas.openxmlformats.org/officeDocument/2006/relationships/oleObject" Target="../embeddings/oleObject27.bin"/><Relationship Id="rId7" Type="http://schemas.openxmlformats.org/officeDocument/2006/relationships/chart" Target="../charts/chart25.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220.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221.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222.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223.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224.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225.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226.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227.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228.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229.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8" Type="http://schemas.openxmlformats.org/officeDocument/2006/relationships/chart" Target="../charts/chart30.xml"/><Relationship Id="rId3" Type="http://schemas.openxmlformats.org/officeDocument/2006/relationships/oleObject" Target="../embeddings/oleObject27.bin"/><Relationship Id="rId7" Type="http://schemas.openxmlformats.org/officeDocument/2006/relationships/chart" Target="../charts/chart29.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230.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231.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232.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233.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234.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235.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236.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237.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238.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23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8" Type="http://schemas.openxmlformats.org/officeDocument/2006/relationships/chart" Target="../charts/chart34.xml"/><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240.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241.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242.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243.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24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245.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24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247.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248.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24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250.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25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25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25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254.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255.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25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257.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25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25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26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26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262.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26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264.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265.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26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267.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26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26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oleObject" Target="../embeddings/oleObject27.bin"/><Relationship Id="rId7" Type="http://schemas.openxmlformats.org/officeDocument/2006/relationships/chart" Target="../charts/chart43.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42.xml"/><Relationship Id="rId5" Type="http://schemas.openxmlformats.org/officeDocument/2006/relationships/chart" Target="../charts/chart41.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27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27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272.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273.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274.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275.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27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27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27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27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oleObject" Target="../embeddings/oleObject27.bin"/><Relationship Id="rId7" Type="http://schemas.openxmlformats.org/officeDocument/2006/relationships/chart" Target="../charts/chart47.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46.xml"/><Relationship Id="rId5" Type="http://schemas.openxmlformats.org/officeDocument/2006/relationships/chart" Target="../charts/chart45.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28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8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82.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283.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284.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285.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28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287.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88.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28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8" Type="http://schemas.openxmlformats.org/officeDocument/2006/relationships/chart" Target="../charts/chart52.xml"/><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290.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29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292.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293.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294.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295.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29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297.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298.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299.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8" Type="http://schemas.openxmlformats.org/officeDocument/2006/relationships/chart" Target="../charts/chart56.xml"/><Relationship Id="rId3" Type="http://schemas.openxmlformats.org/officeDocument/2006/relationships/oleObject" Target="../embeddings/oleObject27.bin"/><Relationship Id="rId7" Type="http://schemas.openxmlformats.org/officeDocument/2006/relationships/chart" Target="../charts/chart55.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54.xml"/><Relationship Id="rId5" Type="http://schemas.openxmlformats.org/officeDocument/2006/relationships/chart" Target="../charts/chart53.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300.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30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302.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303.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304.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305.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30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307.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308.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30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oleObject" Target="../embeddings/oleObject27.bin"/><Relationship Id="rId7" Type="http://schemas.openxmlformats.org/officeDocument/2006/relationships/chart" Target="../charts/chart5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310.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31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312.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313.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314.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315.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31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317.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318.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31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61.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320.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32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322.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323.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324.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325.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326.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327.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328.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329.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8" Type="http://schemas.openxmlformats.org/officeDocument/2006/relationships/chart" Target="../charts/chart65.xml"/><Relationship Id="rId3" Type="http://schemas.openxmlformats.org/officeDocument/2006/relationships/oleObject" Target="../embeddings/oleObject27.bin"/><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63.xml"/><Relationship Id="rId5" Type="http://schemas.openxmlformats.org/officeDocument/2006/relationships/chart" Target="../charts/chart62.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chart" Target="../charts/chart330.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331.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332.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333.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334.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335.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336.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chart" Target="../charts/chart337.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338.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33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8" Type="http://schemas.openxmlformats.org/officeDocument/2006/relationships/chart" Target="../charts/chart69.xml"/><Relationship Id="rId3" Type="http://schemas.openxmlformats.org/officeDocument/2006/relationships/oleObject" Target="../embeddings/oleObject27.bin"/><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67.xml"/><Relationship Id="rId5" Type="http://schemas.openxmlformats.org/officeDocument/2006/relationships/chart" Target="../charts/chart6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340.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341.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342.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343.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344.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345.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346.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347.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348.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349.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8" Type="http://schemas.openxmlformats.org/officeDocument/2006/relationships/chart" Target="../charts/chart73.xml"/><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chart" Target="../charts/chart350.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chart" Target="../charts/chart351.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chart" Target="../charts/chart352.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chart" Target="../charts/chart353.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chart" Target="../charts/chart354.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chart" Target="../charts/chart355.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7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7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7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8.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oleObject" Target="../embeddings/oleObject27.bin"/><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75.xml"/><Relationship Id="rId5" Type="http://schemas.openxmlformats.org/officeDocument/2006/relationships/chart" Target="../charts/chart74.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8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8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8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8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8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8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8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8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8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9.xml.rels><?xml version="1.0" encoding="UTF-8" standalone="yes"?>
<Relationships xmlns="http://schemas.openxmlformats.org/package/2006/relationships"><Relationship Id="rId8" Type="http://schemas.openxmlformats.org/officeDocument/2006/relationships/chart" Target="../charts/chart81.xml"/><Relationship Id="rId3" Type="http://schemas.openxmlformats.org/officeDocument/2006/relationships/oleObject" Target="../embeddings/oleObject27.bin"/><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79.xml"/><Relationship Id="rId5" Type="http://schemas.openxmlformats.org/officeDocument/2006/relationships/chart" Target="../charts/chart78.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9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9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9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9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9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9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9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9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9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0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0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0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04.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0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0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0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08.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09.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1.xml.rels><?xml version="1.0" encoding="UTF-8" standalone="yes"?>
<Relationships xmlns="http://schemas.openxmlformats.org/package/2006/relationships"><Relationship Id="rId8" Type="http://schemas.openxmlformats.org/officeDocument/2006/relationships/chart" Target="../charts/chart87.xml"/><Relationship Id="rId3" Type="http://schemas.openxmlformats.org/officeDocument/2006/relationships/oleObject" Target="../embeddings/oleObject27.bin"/><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85.xml"/><Relationship Id="rId5" Type="http://schemas.openxmlformats.org/officeDocument/2006/relationships/chart" Target="../charts/chart84.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11.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12.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13.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14.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15.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16.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17.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18.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19.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2.xml.rels><?xml version="1.0" encoding="UTF-8" standalone="yes"?>
<Relationships xmlns="http://schemas.openxmlformats.org/package/2006/relationships"><Relationship Id="rId8" Type="http://schemas.openxmlformats.org/officeDocument/2006/relationships/chart" Target="../charts/chart91.xml"/><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21.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22.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23.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24.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25.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352.xml"/><Relationship Id="rId6" Type="http://schemas.openxmlformats.org/officeDocument/2006/relationships/chart" Target="../charts/chart3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26.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353.xml"/><Relationship Id="rId6" Type="http://schemas.openxmlformats.org/officeDocument/2006/relationships/chart" Target="../charts/chart3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27.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354.xml"/><Relationship Id="rId6" Type="http://schemas.openxmlformats.org/officeDocument/2006/relationships/chart" Target="../charts/chart3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28.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355.xml"/><Relationship Id="rId6" Type="http://schemas.openxmlformats.org/officeDocument/2006/relationships/chart" Target="../charts/chart3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29.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356.xml"/><Relationship Id="rId6" Type="http://schemas.openxmlformats.org/officeDocument/2006/relationships/chart" Target="../charts/chart3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3.xml.rels><?xml version="1.0" encoding="UTF-8" standalone="yes"?>
<Relationships xmlns="http://schemas.openxmlformats.org/package/2006/relationships"><Relationship Id="rId8" Type="http://schemas.openxmlformats.org/officeDocument/2006/relationships/chart" Target="../charts/chart95.xml"/><Relationship Id="rId3" Type="http://schemas.openxmlformats.org/officeDocument/2006/relationships/oleObject" Target="../embeddings/oleObject27.bin"/><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3.xml"/><Relationship Id="rId5" Type="http://schemas.openxmlformats.org/officeDocument/2006/relationships/chart" Target="../charts/chart92.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357.xml"/><Relationship Id="rId6" Type="http://schemas.openxmlformats.org/officeDocument/2006/relationships/chart" Target="../charts/chart3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31.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358.xml"/><Relationship Id="rId6" Type="http://schemas.openxmlformats.org/officeDocument/2006/relationships/chart" Target="../charts/chart3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32.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359.xml"/><Relationship Id="rId6" Type="http://schemas.openxmlformats.org/officeDocument/2006/relationships/chart" Target="../charts/chart3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33.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360.xml"/><Relationship Id="rId6" Type="http://schemas.openxmlformats.org/officeDocument/2006/relationships/chart" Target="../charts/chart3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34.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361.xml"/><Relationship Id="rId6" Type="http://schemas.openxmlformats.org/officeDocument/2006/relationships/chart" Target="../charts/chart3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35.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362.xml"/><Relationship Id="rId6" Type="http://schemas.openxmlformats.org/officeDocument/2006/relationships/chart" Target="../charts/chart3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36.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363.xml"/><Relationship Id="rId6" Type="http://schemas.openxmlformats.org/officeDocument/2006/relationships/chart" Target="../charts/chart3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37.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364.xml"/><Relationship Id="rId6" Type="http://schemas.openxmlformats.org/officeDocument/2006/relationships/chart" Target="../charts/chart3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38.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365.xml"/><Relationship Id="rId6" Type="http://schemas.openxmlformats.org/officeDocument/2006/relationships/chart" Target="../charts/chart3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39.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366.xml"/><Relationship Id="rId6" Type="http://schemas.openxmlformats.org/officeDocument/2006/relationships/chart" Target="../charts/chart3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4.xml.rels><?xml version="1.0" encoding="UTF-8" standalone="yes"?>
<Relationships xmlns="http://schemas.openxmlformats.org/package/2006/relationships"><Relationship Id="rId8" Type="http://schemas.openxmlformats.org/officeDocument/2006/relationships/chart" Target="../charts/chart99.xml"/><Relationship Id="rId3" Type="http://schemas.openxmlformats.org/officeDocument/2006/relationships/oleObject" Target="../embeddings/oleObject27.bin"/><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97.xml"/><Relationship Id="rId5" Type="http://schemas.openxmlformats.org/officeDocument/2006/relationships/chart" Target="../charts/chart96.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367.xml"/><Relationship Id="rId6" Type="http://schemas.openxmlformats.org/officeDocument/2006/relationships/chart" Target="../charts/chart3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41.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368.xml"/><Relationship Id="rId6" Type="http://schemas.openxmlformats.org/officeDocument/2006/relationships/chart" Target="../charts/chart3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42.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369.xml"/><Relationship Id="rId6" Type="http://schemas.openxmlformats.org/officeDocument/2006/relationships/chart" Target="../charts/chart3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43.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370.xml"/><Relationship Id="rId6" Type="http://schemas.openxmlformats.org/officeDocument/2006/relationships/chart" Target="../charts/chart3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44.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371.xml"/><Relationship Id="rId6" Type="http://schemas.openxmlformats.org/officeDocument/2006/relationships/chart" Target="../charts/chart3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45.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372.xml"/><Relationship Id="rId6" Type="http://schemas.openxmlformats.org/officeDocument/2006/relationships/chart" Target="../charts/chart3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46.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373.xml"/><Relationship Id="rId6" Type="http://schemas.openxmlformats.org/officeDocument/2006/relationships/chart" Target="../charts/chart3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47.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374.xml"/><Relationship Id="rId6" Type="http://schemas.openxmlformats.org/officeDocument/2006/relationships/chart" Target="../charts/chart3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48.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375.xml"/><Relationship Id="rId6" Type="http://schemas.openxmlformats.org/officeDocument/2006/relationships/chart" Target="../charts/chart3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49.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376.xml"/><Relationship Id="rId6" Type="http://schemas.openxmlformats.org/officeDocument/2006/relationships/chart" Target="../charts/chart3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5.xml.rels><?xml version="1.0" encoding="UTF-8" standalone="yes"?>
<Relationships xmlns="http://schemas.openxmlformats.org/package/2006/relationships"><Relationship Id="rId8" Type="http://schemas.openxmlformats.org/officeDocument/2006/relationships/chart" Target="../charts/chart103.xml"/><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377.xml"/><Relationship Id="rId6" Type="http://schemas.openxmlformats.org/officeDocument/2006/relationships/chart" Target="../charts/chart3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51.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378.xml"/><Relationship Id="rId6" Type="http://schemas.openxmlformats.org/officeDocument/2006/relationships/chart" Target="../charts/chart3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52.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379.xml"/><Relationship Id="rId6" Type="http://schemas.openxmlformats.org/officeDocument/2006/relationships/chart" Target="../charts/chart3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53.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380.xml"/><Relationship Id="rId6" Type="http://schemas.openxmlformats.org/officeDocument/2006/relationships/chart" Target="../charts/chart3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54.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381.xml"/><Relationship Id="rId6" Type="http://schemas.openxmlformats.org/officeDocument/2006/relationships/chart" Target="../charts/chart3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55.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382.xml"/><Relationship Id="rId6" Type="http://schemas.openxmlformats.org/officeDocument/2006/relationships/chart" Target="../charts/chart3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56.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383.xml"/><Relationship Id="rId6" Type="http://schemas.openxmlformats.org/officeDocument/2006/relationships/chart" Target="../charts/chart3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57.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384.xml"/><Relationship Id="rId6" Type="http://schemas.openxmlformats.org/officeDocument/2006/relationships/chart" Target="../charts/chart3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58.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385.xml"/><Relationship Id="rId6" Type="http://schemas.openxmlformats.org/officeDocument/2006/relationships/chart" Target="../charts/chart3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59.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386.xml"/><Relationship Id="rId6" Type="http://schemas.openxmlformats.org/officeDocument/2006/relationships/chart" Target="../charts/chart3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6.xml.rels><?xml version="1.0" encoding="UTF-8" standalone="yes"?>
<Relationships xmlns="http://schemas.openxmlformats.org/package/2006/relationships"><Relationship Id="rId8" Type="http://schemas.openxmlformats.org/officeDocument/2006/relationships/chart" Target="../charts/chart107.xml"/><Relationship Id="rId3" Type="http://schemas.openxmlformats.org/officeDocument/2006/relationships/oleObject" Target="../embeddings/oleObject27.bin"/><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5.xml"/><Relationship Id="rId5" Type="http://schemas.openxmlformats.org/officeDocument/2006/relationships/chart" Target="../charts/chart104.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387.xml"/><Relationship Id="rId6" Type="http://schemas.openxmlformats.org/officeDocument/2006/relationships/chart" Target="../charts/chart3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61.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388.xml"/><Relationship Id="rId6" Type="http://schemas.openxmlformats.org/officeDocument/2006/relationships/chart" Target="../charts/chart3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62.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389.xml"/><Relationship Id="rId6" Type="http://schemas.openxmlformats.org/officeDocument/2006/relationships/chart" Target="../charts/chart39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63.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390.xml"/><Relationship Id="rId6" Type="http://schemas.openxmlformats.org/officeDocument/2006/relationships/chart" Target="../charts/chart39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64.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391.xml"/><Relationship Id="rId6" Type="http://schemas.openxmlformats.org/officeDocument/2006/relationships/chart" Target="../charts/chart39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65.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392.xml"/><Relationship Id="rId6" Type="http://schemas.openxmlformats.org/officeDocument/2006/relationships/chart" Target="../charts/chart39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66.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393.xml"/><Relationship Id="rId6" Type="http://schemas.openxmlformats.org/officeDocument/2006/relationships/chart" Target="../charts/chart39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67.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394.xml"/><Relationship Id="rId6" Type="http://schemas.openxmlformats.org/officeDocument/2006/relationships/chart" Target="../charts/chart39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68.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395.xml"/><Relationship Id="rId6" Type="http://schemas.openxmlformats.org/officeDocument/2006/relationships/chart" Target="../charts/chart39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69.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396.xml"/><Relationship Id="rId6" Type="http://schemas.openxmlformats.org/officeDocument/2006/relationships/chart" Target="../charts/chart40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7.xml.rels><?xml version="1.0" encoding="UTF-8" standalone="yes"?>
<Relationships xmlns="http://schemas.openxmlformats.org/package/2006/relationships"><Relationship Id="rId8" Type="http://schemas.openxmlformats.org/officeDocument/2006/relationships/chart" Target="../charts/chart111.xml"/><Relationship Id="rId3" Type="http://schemas.openxmlformats.org/officeDocument/2006/relationships/oleObject" Target="../embeddings/oleObject27.bin"/><Relationship Id="rId7" Type="http://schemas.openxmlformats.org/officeDocument/2006/relationships/chart" Target="../charts/chart110.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09.xml"/><Relationship Id="rId5" Type="http://schemas.openxmlformats.org/officeDocument/2006/relationships/chart" Target="../charts/chart108.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397.xml"/><Relationship Id="rId6" Type="http://schemas.openxmlformats.org/officeDocument/2006/relationships/chart" Target="../charts/chart40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71.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398.xml"/><Relationship Id="rId6" Type="http://schemas.openxmlformats.org/officeDocument/2006/relationships/chart" Target="../charts/chart40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72.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399.xml"/><Relationship Id="rId6" Type="http://schemas.openxmlformats.org/officeDocument/2006/relationships/chart" Target="../charts/chart40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73.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400.xml"/><Relationship Id="rId6" Type="http://schemas.openxmlformats.org/officeDocument/2006/relationships/chart" Target="../charts/chart40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74.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401.xml"/><Relationship Id="rId6" Type="http://schemas.openxmlformats.org/officeDocument/2006/relationships/chart" Target="../charts/chart40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38.xml.rels><?xml version="1.0" encoding="UTF-8" standalone="yes"?>
<Relationships xmlns="http://schemas.openxmlformats.org/package/2006/relationships"><Relationship Id="rId8" Type="http://schemas.openxmlformats.org/officeDocument/2006/relationships/chart" Target="../charts/chart115.xml"/><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oleObject" Target="../embeddings/oleObject27.bin"/><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7.xml"/><Relationship Id="rId5" Type="http://schemas.openxmlformats.org/officeDocument/2006/relationships/chart" Target="../charts/chart116.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120.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122.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123.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124.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125.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12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127.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128.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12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130.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13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132.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133.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134.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135.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13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13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13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13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140.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14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142.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143.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14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14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14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14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148.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14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15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15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152.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153.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15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155.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15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15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158.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15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16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16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16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16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16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16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16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16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16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16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17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17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17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17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17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17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17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17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17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17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ational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26090849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8608118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Autos Scanning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7185221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33090173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Sport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499045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2533826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Cosmetics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021529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5693572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Cosmetics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81279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6982780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Cosmetics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92229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6092461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Cosmetics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152034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9208206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Cosmetics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644778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8462505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Cosmetics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020453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0508762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Cosmetics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056672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4002332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Cosmetics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912791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9281025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Derma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368776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434516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413076235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36631219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424292038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093766162"/>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Cosmetics Aceite</a:t>
                      </a:r>
                    </a:p>
                  </a:txBody>
                  <a:tcPr anchor="ctr">
                    <a:solidFill>
                      <a:schemeClr val="bg2"/>
                    </a:solidFill>
                  </a:tcPr>
                </a:tc>
                <a:tc>
                  <a:txBody>
                    <a:bodyPr/>
                    <a:lstStyle/>
                    <a:p>
                      <a:pPr algn="ctr">
                        <a:defRPr sz="1100">
                          <a:latin typeface="Nexa Book"/>
                        </a:defRPr>
                      </a:pPr>
                      <a:r>
                        <a:rPr b="1">
                          <a:solidFill>
                            <a:srgbClr val="575555"/>
                          </a:solidFill>
                        </a:rPr>
                        <a:t>Sunscreen Cosmetics Crema</a:t>
                      </a:r>
                    </a:p>
                  </a:txBody>
                  <a:tcPr anchor="ctr">
                    <a:solidFill>
                      <a:schemeClr val="bg2"/>
                    </a:solidFill>
                  </a:tcPr>
                </a:tc>
                <a:tc>
                  <a:txBody>
                    <a:bodyPr/>
                    <a:lstStyle/>
                    <a:p>
                      <a:pPr algn="ctr">
                        <a:defRPr sz="1100">
                          <a:latin typeface="Nexa Book"/>
                        </a:defRPr>
                      </a:pPr>
                      <a:r>
                        <a:rPr b="1">
                          <a:solidFill>
                            <a:srgbClr val="575555"/>
                          </a:solidFill>
                        </a:rPr>
                        <a:t>Sunscreen Cosmetics Emulsion</a:t>
                      </a:r>
                    </a:p>
                  </a:txBody>
                  <a:tcPr anchor="ctr">
                    <a:solidFill>
                      <a:schemeClr val="bg2"/>
                    </a:solidFill>
                  </a:tcPr>
                </a:tc>
                <a:tc>
                  <a:txBody>
                    <a:bodyPr/>
                    <a:lstStyle/>
                    <a:p>
                      <a:pPr algn="ctr">
                        <a:defRPr sz="1100">
                          <a:latin typeface="Nexa Book"/>
                        </a:defRPr>
                      </a:pPr>
                      <a:r>
                        <a:rPr b="1">
                          <a:solidFill>
                            <a:srgbClr val="575555"/>
                          </a:solidFill>
                        </a:rPr>
                        <a:t>Sunscreen Cosmetics Fluido</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78528178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Derma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390275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1195409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Derma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90241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7161520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Derma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24695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7871910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Derma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221912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5754165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Derma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253939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332405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Derma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363001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4735352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Derma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038977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8198437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Derma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308705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9452680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Sport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405216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784200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Sport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179409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849794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47964710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53062193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52451851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153942842"/>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Cosmetics Gel</a:t>
                      </a:r>
                    </a:p>
                  </a:txBody>
                  <a:tcPr anchor="ctr">
                    <a:solidFill>
                      <a:schemeClr val="bg2"/>
                    </a:solidFill>
                  </a:tcPr>
                </a:tc>
                <a:tc>
                  <a:txBody>
                    <a:bodyPr/>
                    <a:lstStyle/>
                    <a:p>
                      <a:pPr algn="ctr">
                        <a:defRPr sz="1100">
                          <a:latin typeface="Nexa Book"/>
                        </a:defRPr>
                      </a:pPr>
                      <a:r>
                        <a:rPr b="1">
                          <a:solidFill>
                            <a:srgbClr val="575555"/>
                          </a:solidFill>
                        </a:rPr>
                        <a:t>Sunscreen Cosmetics Liquido</a:t>
                      </a:r>
                    </a:p>
                  </a:txBody>
                  <a:tcPr anchor="ctr">
                    <a:solidFill>
                      <a:schemeClr val="bg2"/>
                    </a:solidFill>
                  </a:tcPr>
                </a:tc>
                <a:tc>
                  <a:txBody>
                    <a:bodyPr/>
                    <a:lstStyle/>
                    <a:p>
                      <a:pPr algn="ctr">
                        <a:defRPr sz="1100">
                          <a:latin typeface="Nexa Book"/>
                        </a:defRPr>
                      </a:pPr>
                      <a:r>
                        <a:rPr b="1">
                          <a:solidFill>
                            <a:srgbClr val="575555"/>
                          </a:solidFill>
                        </a:rPr>
                        <a:t>Sunscreen Cosmetics Locion</a:t>
                      </a:r>
                    </a:p>
                  </a:txBody>
                  <a:tcPr anchor="ctr">
                    <a:solidFill>
                      <a:schemeClr val="bg2"/>
                    </a:solidFill>
                  </a:tcPr>
                </a:tc>
                <a:tc>
                  <a:txBody>
                    <a:bodyPr/>
                    <a:lstStyle/>
                    <a:p>
                      <a:pPr algn="ctr">
                        <a:defRPr sz="1100">
                          <a:latin typeface="Nexa Book"/>
                        </a:defRPr>
                      </a:pPr>
                      <a:r>
                        <a:rPr b="1">
                          <a:solidFill>
                            <a:srgbClr val="575555"/>
                          </a:solidFill>
                        </a:rPr>
                        <a:t>Sunscreen Cosmetics Roll-O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8506364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Sport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134328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7985409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Sport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436535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13514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Sport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040856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0751219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Cosmetics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738001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9960197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Cosmetics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912788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2394941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Cosmetics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085052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2948336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Cosmetics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873066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9457585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Cosmetics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284659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628028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Derma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979426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0420719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Derma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887868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771397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55634180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70543884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30723512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610160919"/>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Cosmetics Serum</a:t>
                      </a:r>
                    </a:p>
                  </a:txBody>
                  <a:tcPr anchor="ctr">
                    <a:solidFill>
                      <a:schemeClr val="bg2"/>
                    </a:solidFill>
                  </a:tcPr>
                </a:tc>
                <a:tc>
                  <a:txBody>
                    <a:bodyPr/>
                    <a:lstStyle/>
                    <a:p>
                      <a:pPr algn="ctr">
                        <a:defRPr sz="1100">
                          <a:latin typeface="Nexa Book"/>
                        </a:defRPr>
                      </a:pPr>
                      <a:r>
                        <a:rPr b="1">
                          <a:solidFill>
                            <a:srgbClr val="575555"/>
                          </a:solidFill>
                        </a:rPr>
                        <a:t>Sunscreen Cosmetics Spray</a:t>
                      </a:r>
                    </a:p>
                  </a:txBody>
                  <a:tcPr anchor="ctr">
                    <a:solidFill>
                      <a:schemeClr val="bg2"/>
                    </a:solidFill>
                  </a:tcPr>
                </a:tc>
                <a:tc>
                  <a:txBody>
                    <a:bodyPr/>
                    <a:lstStyle/>
                    <a:p>
                      <a:pPr algn="ctr">
                        <a:defRPr sz="1100">
                          <a:latin typeface="Nexa Book"/>
                        </a:defRPr>
                      </a:pPr>
                      <a:r>
                        <a:rPr b="1">
                          <a:solidFill>
                            <a:srgbClr val="575555"/>
                          </a:solidFill>
                        </a:rPr>
                        <a:t>Sunscreen Cosmetics Stick</a:t>
                      </a:r>
                    </a:p>
                  </a:txBody>
                  <a:tcPr anchor="ctr">
                    <a:solidFill>
                      <a:schemeClr val="bg2"/>
                    </a:solidFill>
                  </a:tcPr>
                </a:tc>
                <a:tc>
                  <a:txBody>
                    <a:bodyPr/>
                    <a:lstStyle/>
                    <a:p>
                      <a:pPr algn="ctr">
                        <a:defRPr sz="1100">
                          <a:latin typeface="Nexa Book"/>
                        </a:defRPr>
                      </a:pPr>
                      <a:r>
                        <a:rPr b="1">
                          <a:solidFill>
                            <a:srgbClr val="575555"/>
                          </a:solidFill>
                        </a:rPr>
                        <a:t>Sunscreen Derma Aceit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21558638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Derma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238189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0696889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Derma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304381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4822093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Sport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635789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9631050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Sport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244937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8385412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Sport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679186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3690806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osmetics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561206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74359375"/>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osmetics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893080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5896729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osmetics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882416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7034233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osmetics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368170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3392169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osmetics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185039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127867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411324942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417771874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76539115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228437877"/>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Derma Crema</a:t>
                      </a:r>
                    </a:p>
                  </a:txBody>
                  <a:tcPr anchor="ctr">
                    <a:solidFill>
                      <a:schemeClr val="bg2"/>
                    </a:solidFill>
                  </a:tcPr>
                </a:tc>
                <a:tc>
                  <a:txBody>
                    <a:bodyPr/>
                    <a:lstStyle/>
                    <a:p>
                      <a:pPr algn="ctr">
                        <a:defRPr sz="1100">
                          <a:latin typeface="Nexa Book"/>
                        </a:defRPr>
                      </a:pPr>
                      <a:r>
                        <a:rPr b="1">
                          <a:solidFill>
                            <a:srgbClr val="575555"/>
                          </a:solidFill>
                        </a:rPr>
                        <a:t>Sunscreen Derma Fluido</a:t>
                      </a:r>
                    </a:p>
                  </a:txBody>
                  <a:tcPr anchor="ctr">
                    <a:solidFill>
                      <a:schemeClr val="bg2"/>
                    </a:solidFill>
                  </a:tcPr>
                </a:tc>
                <a:tc>
                  <a:txBody>
                    <a:bodyPr/>
                    <a:lstStyle/>
                    <a:p>
                      <a:pPr algn="ctr">
                        <a:defRPr sz="1100">
                          <a:latin typeface="Nexa Book"/>
                        </a:defRPr>
                      </a:pPr>
                      <a:r>
                        <a:rPr b="1">
                          <a:solidFill>
                            <a:srgbClr val="575555"/>
                          </a:solidFill>
                        </a:rPr>
                        <a:t>Sunscreen Derma Gel</a:t>
                      </a:r>
                    </a:p>
                  </a:txBody>
                  <a:tcPr anchor="ctr">
                    <a:solidFill>
                      <a:schemeClr val="bg2"/>
                    </a:solidFill>
                  </a:tcPr>
                </a:tc>
                <a:tc>
                  <a:txBody>
                    <a:bodyPr/>
                    <a:lstStyle/>
                    <a:p>
                      <a:pPr algn="ctr">
                        <a:defRPr sz="1100">
                          <a:latin typeface="Nexa Book"/>
                        </a:defRPr>
                      </a:pPr>
                      <a:r>
                        <a:rPr b="1">
                          <a:solidFill>
                            <a:srgbClr val="575555"/>
                          </a:solidFill>
                        </a:rPr>
                        <a:t>Sunscreen Derma Gel-Crema</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9024320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osmetics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564549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09384970"/>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osmetics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361269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7245537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osmetics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047198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1431956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osmetics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561376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35224065"/>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Derma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185014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5443711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Derma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324093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7720882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Derma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186474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44540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Derma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999418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532292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Derma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405457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90372220"/>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Derma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560717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316682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51780198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87203178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368235460"/>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83513006"/>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Derma Liquido</a:t>
                      </a:r>
                    </a:p>
                  </a:txBody>
                  <a:tcPr anchor="ctr">
                    <a:solidFill>
                      <a:schemeClr val="bg2"/>
                    </a:solidFill>
                  </a:tcPr>
                </a:tc>
                <a:tc>
                  <a:txBody>
                    <a:bodyPr/>
                    <a:lstStyle/>
                    <a:p>
                      <a:pPr algn="ctr">
                        <a:defRPr sz="1100">
                          <a:latin typeface="Nexa Book"/>
                        </a:defRPr>
                      </a:pPr>
                      <a:r>
                        <a:rPr b="1">
                          <a:solidFill>
                            <a:srgbClr val="575555"/>
                          </a:solidFill>
                        </a:rPr>
                        <a:t>Sunscreen Derma Locion</a:t>
                      </a:r>
                    </a:p>
                  </a:txBody>
                  <a:tcPr anchor="ctr">
                    <a:solidFill>
                      <a:schemeClr val="bg2"/>
                    </a:solidFill>
                  </a:tcPr>
                </a:tc>
                <a:tc>
                  <a:txBody>
                    <a:bodyPr/>
                    <a:lstStyle/>
                    <a:p>
                      <a:pPr algn="ctr">
                        <a:defRPr sz="1100">
                          <a:latin typeface="Nexa Book"/>
                        </a:defRPr>
                      </a:pPr>
                      <a:r>
                        <a:rPr b="1">
                          <a:solidFill>
                            <a:srgbClr val="575555"/>
                          </a:solidFill>
                        </a:rPr>
                        <a:t>Sunscreen Derma Spray</a:t>
                      </a:r>
                    </a:p>
                  </a:txBody>
                  <a:tcPr anchor="ctr">
                    <a:solidFill>
                      <a:schemeClr val="bg2"/>
                    </a:solidFill>
                  </a:tcPr>
                </a:tc>
                <a:tc>
                  <a:txBody>
                    <a:bodyPr/>
                    <a:lstStyle/>
                    <a:p>
                      <a:pPr algn="ctr">
                        <a:defRPr sz="1100">
                          <a:latin typeface="Nexa Book"/>
                        </a:defRPr>
                      </a:pPr>
                      <a:r>
                        <a:rPr b="1">
                          <a:solidFill>
                            <a:srgbClr val="575555"/>
                          </a:solidFill>
                        </a:rPr>
                        <a:t>Sunscreen Derma Stick</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355481260"/>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Derma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606791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6748053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Derma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916317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234883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Derma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55452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100410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Sport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233667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2319134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Sport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656389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65826421"/>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Sport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345810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3261000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Sport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555703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754656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Sport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744765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6318523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Sport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009752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2253814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872739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278017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00629534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46570478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68937815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552303826"/>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Sport Crema</a:t>
                      </a:r>
                    </a:p>
                  </a:txBody>
                  <a:tcPr anchor="ctr">
                    <a:solidFill>
                      <a:schemeClr val="bg2"/>
                    </a:solidFill>
                  </a:tcPr>
                </a:tc>
                <a:tc>
                  <a:txBody>
                    <a:bodyPr/>
                    <a:lstStyle/>
                    <a:p>
                      <a:pPr algn="ctr">
                        <a:defRPr sz="1100">
                          <a:latin typeface="Nexa Book"/>
                        </a:defRPr>
                      </a:pPr>
                      <a:r>
                        <a:rPr b="1">
                          <a:solidFill>
                            <a:srgbClr val="575555"/>
                          </a:solidFill>
                        </a:rPr>
                        <a:t>Sunscreen Sport Liquido</a:t>
                      </a:r>
                    </a:p>
                  </a:txBody>
                  <a:tcPr anchor="ctr">
                    <a:solidFill>
                      <a:schemeClr val="bg2"/>
                    </a:solidFill>
                  </a:tcPr>
                </a:tc>
                <a:tc>
                  <a:txBody>
                    <a:bodyPr/>
                    <a:lstStyle/>
                    <a:p>
                      <a:pPr algn="ctr">
                        <a:defRPr sz="1100">
                          <a:latin typeface="Nexa Book"/>
                        </a:defRPr>
                      </a:pPr>
                      <a:r>
                        <a:rPr b="1">
                          <a:solidFill>
                            <a:srgbClr val="575555"/>
                          </a:solidFill>
                        </a:rPr>
                        <a:t>Sunscreen Sport Locion</a:t>
                      </a:r>
                    </a:p>
                  </a:txBody>
                  <a:tcPr anchor="ctr">
                    <a:solidFill>
                      <a:schemeClr val="bg2"/>
                    </a:solidFill>
                  </a:tcPr>
                </a:tc>
                <a:tc>
                  <a:txBody>
                    <a:bodyPr/>
                    <a:lstStyle/>
                    <a:p>
                      <a:pPr algn="ctr">
                        <a:defRPr sz="1100">
                          <a:latin typeface="Nexa Book"/>
                        </a:defRPr>
                      </a:pPr>
                      <a:r>
                        <a:rPr b="1">
                          <a:solidFill>
                            <a:srgbClr val="575555"/>
                          </a:solidFill>
                        </a:rPr>
                        <a:t>Sunscreen Sport Roll-O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61843260"/>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Canal Modern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555595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1003321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Convenience + Farmacias Cad + Hard Discounte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237527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07708942"/>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Canal Tradic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575473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92722199"/>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Autos Sc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997416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49440790"/>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468061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4760504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652917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502251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910714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3956310"/>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Tradicional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223226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1196380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210786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5752827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Cosmetics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209560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389538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12M</a:t>
            </a:r>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extLst>
              <p:ext uri="{D42A27DB-BD31-4B8C-83A1-F6EECF244321}">
                <p14:modId xmlns:p14="http://schemas.microsoft.com/office/powerpoint/2010/main" val="87754414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extLst>
              <p:ext uri="{D42A27DB-BD31-4B8C-83A1-F6EECF244321}">
                <p14:modId xmlns:p14="http://schemas.microsoft.com/office/powerpoint/2010/main" val="713555689"/>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defRPr sz="1100">
                          <a:latin typeface="Nexa Book"/>
                        </a:defRPr>
                      </a:pPr>
                      <a:r>
                        <a:rPr b="1">
                          <a:solidFill>
                            <a:srgbClr val="575555"/>
                          </a:solidFill>
                        </a:rPr>
                        <a:t>Sunscreen Sport Spray</a:t>
                      </a:r>
                    </a:p>
                  </a:txBody>
                  <a:tcPr anchor="ctr">
                    <a:solidFill>
                      <a:schemeClr val="bg2"/>
                    </a:solidFill>
                  </a:tcPr>
                </a:tc>
                <a:tc>
                  <a:txBody>
                    <a:bodyPr/>
                    <a:lstStyle/>
                    <a:p>
                      <a:pPr algn="ctr">
                        <a:defRPr sz="1100">
                          <a:latin typeface="Nexa Book"/>
                        </a:defRPr>
                      </a:pPr>
                      <a:r>
                        <a:rPr b="1">
                          <a:solidFill>
                            <a:srgbClr val="575555"/>
                          </a:solidFill>
                        </a:rPr>
                        <a:t>Sunscreen Sport Stick</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457763739"/>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Cosmetics Emuls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754128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6198123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Cosmetics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953105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0673881"/>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Cosmetics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364661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5686740"/>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Cosmetics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297701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86290843"/>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Cosmetics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700708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7446538"/>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Cosmetics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55411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81513928"/>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Cosmetics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685061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56147049"/>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Cosmetics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944486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33898148"/>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Cosmetics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600366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51874554"/>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Derma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735594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94962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nal Moderno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64944027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0258183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77837258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721083171"/>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Cosmetics Aceite</a:t>
                      </a:r>
                    </a:p>
                  </a:txBody>
                  <a:tcPr anchor="ctr">
                    <a:solidFill>
                      <a:schemeClr val="bg2"/>
                    </a:solidFill>
                  </a:tcPr>
                </a:tc>
                <a:tc>
                  <a:txBody>
                    <a:bodyPr/>
                    <a:lstStyle/>
                    <a:p>
                      <a:pPr algn="ctr">
                        <a:defRPr sz="1100">
                          <a:latin typeface="Nexa Book"/>
                        </a:defRPr>
                      </a:pPr>
                      <a:r>
                        <a:rPr b="1">
                          <a:solidFill>
                            <a:srgbClr val="575555"/>
                          </a:solidFill>
                        </a:rPr>
                        <a:t>Sunscreen Cosmetics Crema</a:t>
                      </a:r>
                    </a:p>
                  </a:txBody>
                  <a:tcPr anchor="ctr">
                    <a:solidFill>
                      <a:schemeClr val="bg2"/>
                    </a:solidFill>
                  </a:tcPr>
                </a:tc>
                <a:tc>
                  <a:txBody>
                    <a:bodyPr/>
                    <a:lstStyle/>
                    <a:p>
                      <a:pPr algn="ctr">
                        <a:defRPr sz="1100">
                          <a:latin typeface="Nexa Book"/>
                        </a:defRPr>
                      </a:pPr>
                      <a:r>
                        <a:rPr b="1">
                          <a:solidFill>
                            <a:srgbClr val="575555"/>
                          </a:solidFill>
                        </a:rPr>
                        <a:t>Sunscreen Cosmetics Fluido</a:t>
                      </a:r>
                    </a:p>
                  </a:txBody>
                  <a:tcPr anchor="ctr">
                    <a:solidFill>
                      <a:schemeClr val="bg2"/>
                    </a:solidFill>
                  </a:tcPr>
                </a:tc>
                <a:tc>
                  <a:txBody>
                    <a:bodyPr/>
                    <a:lstStyle/>
                    <a:p>
                      <a:pPr algn="ctr">
                        <a:defRPr sz="1100">
                          <a:latin typeface="Nexa Book"/>
                        </a:defRPr>
                      </a:pPr>
                      <a:r>
                        <a:rPr b="1">
                          <a:solidFill>
                            <a:srgbClr val="575555"/>
                          </a:solidFill>
                        </a:rPr>
                        <a:t>Sunscreen Cosmetics Ge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860568488"/>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Derma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997262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8656138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Derma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96651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4367024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Derma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524122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6706034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Derma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790529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97433366"/>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Derma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80736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82469560"/>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Derma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03917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8888542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Derma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531688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5998426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Derma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025034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962418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Sport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824034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76142821"/>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Sport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237490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248382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nal Moderno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19392262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99706144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879649985"/>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552756616"/>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Cosmetics Liquido</a:t>
                      </a:r>
                    </a:p>
                  </a:txBody>
                  <a:tcPr anchor="ctr">
                    <a:solidFill>
                      <a:schemeClr val="bg2"/>
                    </a:solidFill>
                  </a:tcPr>
                </a:tc>
                <a:tc>
                  <a:txBody>
                    <a:bodyPr/>
                    <a:lstStyle/>
                    <a:p>
                      <a:pPr algn="ctr">
                        <a:defRPr sz="1100">
                          <a:latin typeface="Nexa Book"/>
                        </a:defRPr>
                      </a:pPr>
                      <a:r>
                        <a:rPr b="1">
                          <a:solidFill>
                            <a:srgbClr val="575555"/>
                          </a:solidFill>
                        </a:rPr>
                        <a:t>Sunscreen Cosmetics Locion</a:t>
                      </a:r>
                    </a:p>
                  </a:txBody>
                  <a:tcPr anchor="ctr">
                    <a:solidFill>
                      <a:schemeClr val="bg2"/>
                    </a:solidFill>
                  </a:tcPr>
                </a:tc>
                <a:tc>
                  <a:txBody>
                    <a:bodyPr/>
                    <a:lstStyle/>
                    <a:p>
                      <a:pPr algn="ctr">
                        <a:defRPr sz="1100">
                          <a:latin typeface="Nexa Book"/>
                        </a:defRPr>
                      </a:pPr>
                      <a:r>
                        <a:rPr b="1">
                          <a:solidFill>
                            <a:srgbClr val="575555"/>
                          </a:solidFill>
                        </a:rPr>
                        <a:t>Sunscreen Cosmetics Roll-On</a:t>
                      </a:r>
                    </a:p>
                  </a:txBody>
                  <a:tcPr anchor="ctr">
                    <a:solidFill>
                      <a:schemeClr val="bg2"/>
                    </a:solidFill>
                  </a:tcPr>
                </a:tc>
                <a:tc>
                  <a:txBody>
                    <a:bodyPr/>
                    <a:lstStyle/>
                    <a:p>
                      <a:pPr algn="ctr">
                        <a:defRPr sz="1100">
                          <a:latin typeface="Nexa Book"/>
                        </a:defRPr>
                      </a:pPr>
                      <a:r>
                        <a:rPr b="1">
                          <a:solidFill>
                            <a:srgbClr val="575555"/>
                          </a:solidFill>
                        </a:rPr>
                        <a:t>Sunscreen Cosmetics Serum</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73370959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Sport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523947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36132936"/>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Sport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252683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39137055"/>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Sport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819663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2570635"/>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unscreen Sport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663755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1848146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Cosmetics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27066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28919624"/>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Cosmetics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599380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42597459"/>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Cosmetics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949453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14092286"/>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Cosmetics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402320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41755694"/>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Cosmetics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940893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55801210"/>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Cosmetics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70614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337797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Canal Moderno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410400462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426157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nal Moderno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44896089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32154961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148928330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256345528"/>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Cosmetics Spray</a:t>
                      </a:r>
                    </a:p>
                  </a:txBody>
                  <a:tcPr anchor="ctr">
                    <a:solidFill>
                      <a:schemeClr val="bg2"/>
                    </a:solidFill>
                  </a:tcPr>
                </a:tc>
                <a:tc>
                  <a:txBody>
                    <a:bodyPr/>
                    <a:lstStyle/>
                    <a:p>
                      <a:pPr algn="ctr">
                        <a:defRPr sz="1100">
                          <a:latin typeface="Nexa Book"/>
                        </a:defRPr>
                      </a:pPr>
                      <a:r>
                        <a:rPr b="1">
                          <a:solidFill>
                            <a:srgbClr val="575555"/>
                          </a:solidFill>
                        </a:rPr>
                        <a:t>Sunscreen Cosmetics Stick</a:t>
                      </a:r>
                    </a:p>
                  </a:txBody>
                  <a:tcPr anchor="ctr">
                    <a:solidFill>
                      <a:schemeClr val="bg2"/>
                    </a:solidFill>
                  </a:tcPr>
                </a:tc>
                <a:tc>
                  <a:txBody>
                    <a:bodyPr/>
                    <a:lstStyle/>
                    <a:p>
                      <a:pPr algn="ctr">
                        <a:defRPr sz="1100">
                          <a:latin typeface="Nexa Book"/>
                        </a:defRPr>
                      </a:pPr>
                      <a:r>
                        <a:rPr b="1">
                          <a:solidFill>
                            <a:srgbClr val="575555"/>
                          </a:solidFill>
                        </a:rPr>
                        <a:t>Sunscreen Derma Aceite</a:t>
                      </a:r>
                    </a:p>
                  </a:txBody>
                  <a:tcPr anchor="ctr">
                    <a:solidFill>
                      <a:schemeClr val="bg2"/>
                    </a:solidFill>
                  </a:tcPr>
                </a:tc>
                <a:tc>
                  <a:txBody>
                    <a:bodyPr/>
                    <a:lstStyle/>
                    <a:p>
                      <a:pPr algn="ctr">
                        <a:defRPr sz="1100">
                          <a:latin typeface="Nexa Book"/>
                        </a:defRPr>
                      </a:pPr>
                      <a:r>
                        <a:rPr b="1">
                          <a:solidFill>
                            <a:srgbClr val="575555"/>
                          </a:solidFill>
                        </a:rPr>
                        <a:t>Sunscreen Derma Crema</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700622485"/>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Cosmetics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469718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75797317"/>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Cosmetics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918297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86627780"/>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Cosmetics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01592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8360697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Derma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922861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21802852"/>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Derma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842080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2674746"/>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Derma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951074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38651148"/>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Derma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364338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32335938"/>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Derma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920083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44923545"/>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Derma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283238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9569370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Derma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73502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824391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nal Moderno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58948803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100100166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1331556935"/>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848339580"/>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Derma Fluido</a:t>
                      </a:r>
                    </a:p>
                  </a:txBody>
                  <a:tcPr anchor="ctr">
                    <a:solidFill>
                      <a:schemeClr val="bg2"/>
                    </a:solidFill>
                  </a:tcPr>
                </a:tc>
                <a:tc>
                  <a:txBody>
                    <a:bodyPr/>
                    <a:lstStyle/>
                    <a:p>
                      <a:pPr algn="ctr">
                        <a:defRPr sz="1100">
                          <a:latin typeface="Nexa Book"/>
                        </a:defRPr>
                      </a:pPr>
                      <a:r>
                        <a:rPr b="1">
                          <a:solidFill>
                            <a:srgbClr val="575555"/>
                          </a:solidFill>
                        </a:rPr>
                        <a:t>Sunscreen Derma Gel</a:t>
                      </a:r>
                    </a:p>
                  </a:txBody>
                  <a:tcPr anchor="ctr">
                    <a:solidFill>
                      <a:schemeClr val="bg2"/>
                    </a:solidFill>
                  </a:tcPr>
                </a:tc>
                <a:tc>
                  <a:txBody>
                    <a:bodyPr/>
                    <a:lstStyle/>
                    <a:p>
                      <a:pPr algn="ctr">
                        <a:defRPr sz="1100">
                          <a:latin typeface="Nexa Book"/>
                        </a:defRPr>
                      </a:pPr>
                      <a:r>
                        <a:rPr b="1">
                          <a:solidFill>
                            <a:srgbClr val="575555"/>
                          </a:solidFill>
                        </a:rPr>
                        <a:t>Sunscreen Derma Gel-Crema</a:t>
                      </a:r>
                    </a:p>
                  </a:txBody>
                  <a:tcPr anchor="ctr">
                    <a:solidFill>
                      <a:schemeClr val="bg2"/>
                    </a:solidFill>
                  </a:tcPr>
                </a:tc>
                <a:tc>
                  <a:txBody>
                    <a:bodyPr/>
                    <a:lstStyle/>
                    <a:p>
                      <a:pPr algn="ctr">
                        <a:defRPr sz="1100">
                          <a:latin typeface="Nexa Book"/>
                        </a:defRPr>
                      </a:pPr>
                      <a:r>
                        <a:rPr b="1">
                          <a:solidFill>
                            <a:srgbClr val="575555"/>
                          </a:solidFill>
                        </a:rPr>
                        <a:t>Sunscreen Derma Liquido</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565441356"/>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Derma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568177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5671731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Derma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122935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55622757"/>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Sport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435091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91742844"/>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Sport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510351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73729317"/>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Sport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16796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88700853"/>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Sport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538329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68519888"/>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Sport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806904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44993895"/>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Moderno | Sunscreen Sport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539258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21491922"/>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Cosmetics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504968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4263266"/>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Cosmetics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228830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288052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nal Moderno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57974021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418368732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85722628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464677265"/>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Derma Locion</a:t>
                      </a:r>
                    </a:p>
                  </a:txBody>
                  <a:tcPr anchor="ctr">
                    <a:solidFill>
                      <a:schemeClr val="bg2"/>
                    </a:solidFill>
                  </a:tcPr>
                </a:tc>
                <a:tc>
                  <a:txBody>
                    <a:bodyPr/>
                    <a:lstStyle/>
                    <a:p>
                      <a:pPr algn="ctr">
                        <a:defRPr sz="1100">
                          <a:latin typeface="Nexa Book"/>
                        </a:defRPr>
                      </a:pPr>
                      <a:r>
                        <a:rPr b="1">
                          <a:solidFill>
                            <a:srgbClr val="575555"/>
                          </a:solidFill>
                        </a:rPr>
                        <a:t>Sunscreen Derma Spray</a:t>
                      </a:r>
                    </a:p>
                  </a:txBody>
                  <a:tcPr anchor="ctr">
                    <a:solidFill>
                      <a:schemeClr val="bg2"/>
                    </a:solidFill>
                  </a:tcPr>
                </a:tc>
                <a:tc>
                  <a:txBody>
                    <a:bodyPr/>
                    <a:lstStyle/>
                    <a:p>
                      <a:pPr algn="ctr">
                        <a:defRPr sz="1100">
                          <a:latin typeface="Nexa Book"/>
                        </a:defRPr>
                      </a:pPr>
                      <a:r>
                        <a:rPr b="1">
                          <a:solidFill>
                            <a:srgbClr val="575555"/>
                          </a:solidFill>
                        </a:rPr>
                        <a:t>Sunscreen Derma Stick</a:t>
                      </a:r>
                    </a:p>
                  </a:txBody>
                  <a:tcPr anchor="ctr">
                    <a:solidFill>
                      <a:schemeClr val="bg2"/>
                    </a:solidFill>
                  </a:tcPr>
                </a:tc>
                <a:tc>
                  <a:txBody>
                    <a:bodyPr/>
                    <a:lstStyle/>
                    <a:p>
                      <a:pPr algn="ctr">
                        <a:defRPr sz="1100">
                          <a:latin typeface="Nexa Book"/>
                        </a:defRPr>
                      </a:pPr>
                      <a:r>
                        <a:rPr b="1">
                          <a:solidFill>
                            <a:srgbClr val="575555"/>
                          </a:solidFill>
                        </a:rPr>
                        <a:t>Sunscreen Sport Crema</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31345697"/>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Cosmetics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208760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147240"/>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Cosmetics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755500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01138490"/>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Cosmetics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420810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1850405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Cosmetics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86365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29654422"/>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Cosmetics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674308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90250818"/>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Cosmetics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258995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4162915"/>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Derma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313848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14804554"/>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Derma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117055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04889615"/>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Derma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108723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10415966"/>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Derma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345160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035992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nal Moderno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66061594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09711800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108181899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67627215"/>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Sport Liquido</a:t>
                      </a:r>
                    </a:p>
                  </a:txBody>
                  <a:tcPr anchor="ctr">
                    <a:solidFill>
                      <a:schemeClr val="bg2"/>
                    </a:solidFill>
                  </a:tcPr>
                </a:tc>
                <a:tc>
                  <a:txBody>
                    <a:bodyPr/>
                    <a:lstStyle/>
                    <a:p>
                      <a:pPr algn="ctr">
                        <a:defRPr sz="1100">
                          <a:latin typeface="Nexa Book"/>
                        </a:defRPr>
                      </a:pPr>
                      <a:r>
                        <a:rPr b="1">
                          <a:solidFill>
                            <a:srgbClr val="575555"/>
                          </a:solidFill>
                        </a:rPr>
                        <a:t>Sunscreen Sport Locion</a:t>
                      </a:r>
                    </a:p>
                  </a:txBody>
                  <a:tcPr anchor="ctr">
                    <a:solidFill>
                      <a:schemeClr val="bg2"/>
                    </a:solidFill>
                  </a:tcPr>
                </a:tc>
                <a:tc>
                  <a:txBody>
                    <a:bodyPr/>
                    <a:lstStyle/>
                    <a:p>
                      <a:pPr algn="ctr">
                        <a:defRPr sz="1100">
                          <a:latin typeface="Nexa Book"/>
                        </a:defRPr>
                      </a:pPr>
                      <a:r>
                        <a:rPr b="1">
                          <a:solidFill>
                            <a:srgbClr val="575555"/>
                          </a:solidFill>
                        </a:rPr>
                        <a:t>Sunscreen Sport Roll-On</a:t>
                      </a:r>
                    </a:p>
                  </a:txBody>
                  <a:tcPr anchor="ctr">
                    <a:solidFill>
                      <a:schemeClr val="bg2"/>
                    </a:solidFill>
                  </a:tcPr>
                </a:tc>
                <a:tc>
                  <a:txBody>
                    <a:bodyPr/>
                    <a:lstStyle/>
                    <a:p>
                      <a:pPr algn="ctr">
                        <a:defRPr sz="1100">
                          <a:latin typeface="Nexa Book"/>
                        </a:defRPr>
                      </a:pPr>
                      <a:r>
                        <a:rPr b="1">
                          <a:solidFill>
                            <a:srgbClr val="575555"/>
                          </a:solidFill>
                        </a:rPr>
                        <a:t>Sunscreen Sport Spray</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128061242"/>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Derma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4898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07460290"/>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Derma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022943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65355409"/>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Derma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268950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82053677"/>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Derma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241983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63963584"/>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Derma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770004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2522729"/>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Sport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761500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89646380"/>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Sport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23211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6376477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Sport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967045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52691616"/>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Sport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271352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80445417"/>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onvenience + Farmacias Cad + Hard Discounters | Sunscreen Sport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339848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46223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nal Moderno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91733656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screen Sport Stick</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08660042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Tradicional | Sunscreen Cosmetics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454610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0633170"/>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Tradicional | Sunscreen Cosmetics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365843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14088082"/>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Tradicional | Sunscreen Cosmetics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537685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92325101"/>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Tradicional | Sunscreen Cosmetics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268159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46229362"/>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Tradicional | Sunscreen Cosmetics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87471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8437213"/>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Tradicional | Sunscreen Derma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906273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07159212"/>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Tradicional | Sunscreen Derma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88098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32644092"/>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Tradicional | Sunscreen Derma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827833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68768868"/>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Tradicional | Sunscreen Derma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861310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99173900"/>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Tradicional | Sunscreen Sport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475133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909429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onvenience + Farmacias Cad + Hard Discounters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43811628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67200812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69930875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979634424"/>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Cosmetics Aceite</a:t>
                      </a:r>
                    </a:p>
                  </a:txBody>
                  <a:tcPr anchor="ctr">
                    <a:solidFill>
                      <a:schemeClr val="bg2"/>
                    </a:solidFill>
                  </a:tcPr>
                </a:tc>
                <a:tc>
                  <a:txBody>
                    <a:bodyPr/>
                    <a:lstStyle/>
                    <a:p>
                      <a:pPr algn="ctr">
                        <a:defRPr sz="1100">
                          <a:latin typeface="Nexa Book"/>
                        </a:defRPr>
                      </a:pPr>
                      <a:r>
                        <a:rPr b="1">
                          <a:solidFill>
                            <a:srgbClr val="575555"/>
                          </a:solidFill>
                        </a:rPr>
                        <a:t>Sunscreen Cosmetics Crema</a:t>
                      </a:r>
                    </a:p>
                  </a:txBody>
                  <a:tcPr anchor="ctr">
                    <a:solidFill>
                      <a:schemeClr val="bg2"/>
                    </a:solidFill>
                  </a:tcPr>
                </a:tc>
                <a:tc>
                  <a:txBody>
                    <a:bodyPr/>
                    <a:lstStyle/>
                    <a:p>
                      <a:pPr algn="ctr">
                        <a:defRPr sz="1100">
                          <a:latin typeface="Nexa Book"/>
                        </a:defRPr>
                      </a:pPr>
                      <a:r>
                        <a:rPr b="1">
                          <a:solidFill>
                            <a:srgbClr val="575555"/>
                          </a:solidFill>
                        </a:rPr>
                        <a:t>Sunscreen Cosmetics Fluido</a:t>
                      </a:r>
                    </a:p>
                  </a:txBody>
                  <a:tcPr anchor="ctr">
                    <a:solidFill>
                      <a:schemeClr val="bg2"/>
                    </a:solidFill>
                  </a:tcPr>
                </a:tc>
                <a:tc>
                  <a:txBody>
                    <a:bodyPr/>
                    <a:lstStyle/>
                    <a:p>
                      <a:pPr algn="ctr">
                        <a:defRPr sz="1100">
                          <a:latin typeface="Nexa Book"/>
                        </a:defRPr>
                      </a:pPr>
                      <a:r>
                        <a:rPr b="1">
                          <a:solidFill>
                            <a:srgbClr val="575555"/>
                          </a:solidFill>
                        </a:rPr>
                        <a:t>Sunscreen Cosmetics Ge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857628168"/>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Tradicional | Sunscreen Sport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28224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50769170"/>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Canal Tradicional | Sunscreen Sport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559517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360961"/>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Cosmetics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361507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488789"/>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Cosmetics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305675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42396754"/>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Cosmetics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366606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53447030"/>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Cosmetics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057821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60746721"/>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Cosmetics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568656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4600762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Cosmetics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165592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64006416"/>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Cosmetics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34461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39077580"/>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Cosmetics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037066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338809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onvenience + Farmacias Cad + Hard Discounters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46181512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1076262319"/>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15927301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611938772"/>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Cosmetics Liquido</a:t>
                      </a:r>
                    </a:p>
                  </a:txBody>
                  <a:tcPr anchor="ctr">
                    <a:solidFill>
                      <a:schemeClr val="bg2"/>
                    </a:solidFill>
                  </a:tcPr>
                </a:tc>
                <a:tc>
                  <a:txBody>
                    <a:bodyPr/>
                    <a:lstStyle/>
                    <a:p>
                      <a:pPr algn="ctr">
                        <a:defRPr sz="1100">
                          <a:latin typeface="Nexa Book"/>
                        </a:defRPr>
                      </a:pPr>
                      <a:r>
                        <a:rPr b="1">
                          <a:solidFill>
                            <a:srgbClr val="575555"/>
                          </a:solidFill>
                        </a:rPr>
                        <a:t>Sunscreen Cosmetics Locion</a:t>
                      </a:r>
                    </a:p>
                  </a:txBody>
                  <a:tcPr anchor="ctr">
                    <a:solidFill>
                      <a:schemeClr val="bg2"/>
                    </a:solidFill>
                  </a:tcPr>
                </a:tc>
                <a:tc>
                  <a:txBody>
                    <a:bodyPr/>
                    <a:lstStyle/>
                    <a:p>
                      <a:pPr algn="ctr">
                        <a:defRPr sz="1100">
                          <a:latin typeface="Nexa Book"/>
                        </a:defRPr>
                      </a:pPr>
                      <a:r>
                        <a:rPr b="1">
                          <a:solidFill>
                            <a:srgbClr val="575555"/>
                          </a:solidFill>
                        </a:rPr>
                        <a:t>Sunscreen Cosmetics Serum</a:t>
                      </a:r>
                    </a:p>
                  </a:txBody>
                  <a:tcPr anchor="ctr">
                    <a:solidFill>
                      <a:schemeClr val="bg2"/>
                    </a:solidFill>
                  </a:tcPr>
                </a:tc>
                <a:tc>
                  <a:txBody>
                    <a:bodyPr/>
                    <a:lstStyle/>
                    <a:p>
                      <a:pPr algn="ctr">
                        <a:defRPr sz="1100">
                          <a:latin typeface="Nexa Book"/>
                        </a:defRPr>
                      </a:pPr>
                      <a:r>
                        <a:rPr b="1">
                          <a:solidFill>
                            <a:srgbClr val="575555"/>
                          </a:solidFill>
                        </a:rPr>
                        <a:t>Sunscreen Cosmetics Stick</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62502425"/>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Cosmetics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480494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66269017"/>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Derma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679554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63414084"/>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Derma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813959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01194425"/>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Derma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456766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14473487"/>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Derma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034426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17912012"/>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Derma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701366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91241038"/>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Derma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398136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68771293"/>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Derma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00505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74589506"/>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Derma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813927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99412972"/>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Derma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354358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499594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onvenience + Farmacias Cad + Hard Discounters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41319661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31225355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137913824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20402993"/>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Derma Aceite</a:t>
                      </a:r>
                    </a:p>
                  </a:txBody>
                  <a:tcPr anchor="ctr">
                    <a:solidFill>
                      <a:schemeClr val="bg2"/>
                    </a:solidFill>
                  </a:tcPr>
                </a:tc>
                <a:tc>
                  <a:txBody>
                    <a:bodyPr/>
                    <a:lstStyle/>
                    <a:p>
                      <a:pPr algn="ctr">
                        <a:defRPr sz="1100">
                          <a:latin typeface="Nexa Book"/>
                        </a:defRPr>
                      </a:pPr>
                      <a:r>
                        <a:rPr b="1">
                          <a:solidFill>
                            <a:srgbClr val="575555"/>
                          </a:solidFill>
                        </a:rPr>
                        <a:t>Sunscreen Derma Crema</a:t>
                      </a:r>
                    </a:p>
                  </a:txBody>
                  <a:tcPr anchor="ctr">
                    <a:solidFill>
                      <a:schemeClr val="bg2"/>
                    </a:solidFill>
                  </a:tcPr>
                </a:tc>
                <a:tc>
                  <a:txBody>
                    <a:bodyPr/>
                    <a:lstStyle/>
                    <a:p>
                      <a:pPr algn="ctr">
                        <a:defRPr sz="1100">
                          <a:latin typeface="Nexa Book"/>
                        </a:defRPr>
                      </a:pPr>
                      <a:r>
                        <a:rPr b="1">
                          <a:solidFill>
                            <a:srgbClr val="575555"/>
                          </a:solidFill>
                        </a:rPr>
                        <a:t>Sunscreen Derma Fluido</a:t>
                      </a:r>
                    </a:p>
                  </a:txBody>
                  <a:tcPr anchor="ctr">
                    <a:solidFill>
                      <a:schemeClr val="bg2"/>
                    </a:solidFill>
                  </a:tcPr>
                </a:tc>
                <a:tc>
                  <a:txBody>
                    <a:bodyPr/>
                    <a:lstStyle/>
                    <a:p>
                      <a:pPr algn="ctr">
                        <a:defRPr sz="1100">
                          <a:latin typeface="Nexa Book"/>
                        </a:defRPr>
                      </a:pPr>
                      <a:r>
                        <a:rPr b="1">
                          <a:solidFill>
                            <a:srgbClr val="575555"/>
                          </a:solidFill>
                        </a:rPr>
                        <a:t>Sunscreen Derma Ge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40487113"/>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Sport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639068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71217058"/>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Sport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523475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99882325"/>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Sport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795000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34796880"/>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Sport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911564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95824599"/>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Sport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534320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54408442"/>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Sport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765158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492795"/>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8.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40.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4.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02573976"/>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7.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99.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7.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9.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45468919"/>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9.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98.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77600559"/>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Canal Tradic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8.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8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4.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2779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onvenience + Farmacias Cad + Hard Discounters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67666855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1307089816"/>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609437528"/>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427589275"/>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Derma Gel-Crema</a:t>
                      </a:r>
                    </a:p>
                  </a:txBody>
                  <a:tcPr anchor="ctr">
                    <a:solidFill>
                      <a:schemeClr val="bg2"/>
                    </a:solidFill>
                  </a:tcPr>
                </a:tc>
                <a:tc>
                  <a:txBody>
                    <a:bodyPr/>
                    <a:lstStyle/>
                    <a:p>
                      <a:pPr algn="ctr">
                        <a:defRPr sz="1100">
                          <a:latin typeface="Nexa Book"/>
                        </a:defRPr>
                      </a:pPr>
                      <a:r>
                        <a:rPr b="1">
                          <a:solidFill>
                            <a:srgbClr val="575555"/>
                          </a:solidFill>
                        </a:rPr>
                        <a:t>Sunscreen Derma Liquido</a:t>
                      </a:r>
                    </a:p>
                  </a:txBody>
                  <a:tcPr anchor="ctr">
                    <a:solidFill>
                      <a:schemeClr val="bg2"/>
                    </a:solidFill>
                  </a:tcPr>
                </a:tc>
                <a:tc>
                  <a:txBody>
                    <a:bodyPr/>
                    <a:lstStyle/>
                    <a:p>
                      <a:pPr algn="ctr">
                        <a:defRPr sz="1100">
                          <a:latin typeface="Nexa Book"/>
                        </a:defRPr>
                      </a:pPr>
                      <a:r>
                        <a:rPr b="1">
                          <a:solidFill>
                            <a:srgbClr val="575555"/>
                          </a:solidFill>
                        </a:rPr>
                        <a:t>Sunscreen Derma Locion</a:t>
                      </a:r>
                    </a:p>
                  </a:txBody>
                  <a:tcPr anchor="ctr">
                    <a:solidFill>
                      <a:schemeClr val="bg2"/>
                    </a:solidFill>
                  </a:tcPr>
                </a:tc>
                <a:tc>
                  <a:txBody>
                    <a:bodyPr/>
                    <a:lstStyle/>
                    <a:p>
                      <a:pPr algn="ctr">
                        <a:defRPr sz="1100">
                          <a:latin typeface="Nexa Book"/>
                        </a:defRPr>
                      </a:pPr>
                      <a:r>
                        <a:rPr b="1">
                          <a:solidFill>
                            <a:srgbClr val="575555"/>
                          </a:solidFill>
                        </a:rPr>
                        <a:t>Sunscreen Derma Spray</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003975941"/>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8.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80.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43412933"/>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Crema (2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58.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4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0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0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Crema (1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8.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9.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0.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6.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Liquido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Fluido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0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79.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4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8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7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6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8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8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7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Gel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8.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88121801"/>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Liq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 Par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7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5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0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etaph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5.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Liq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Crema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7.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7.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Locio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9.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9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Aceit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80.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7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Crema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2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6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80551235"/>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Sti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00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Spra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60.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Genov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4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Fluido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5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Loci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83042207"/>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5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4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pra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6.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Ocean Po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68.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8.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Aceite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Spra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4.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Ocean Po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8.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7.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48941009"/>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4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Emulsi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0.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22371382"/>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Crema (2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1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9.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48.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0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4.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Crema (1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8.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7.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Liquido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0.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7.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6.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Fluido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2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2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18.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64.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4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5.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8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90.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0.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99.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Gel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9.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85745846"/>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Liq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 Par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2.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30.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09.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3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etaph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Liq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4.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8.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Crema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0.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Locio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78.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Aceit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78.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9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Crema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77.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92.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84352898"/>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Sti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58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6.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Spra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8.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0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Genov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3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Fluido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18.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0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Loci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0.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9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3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4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23407336"/>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9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9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pra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Ocean Po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9.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Aceite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Spra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8.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Ocean Po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3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662535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onvenience + Farmacias Cad + Hard Discounters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79909095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183745789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108848455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49065402"/>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Derma Stick</a:t>
                      </a:r>
                    </a:p>
                  </a:txBody>
                  <a:tcPr anchor="ctr">
                    <a:solidFill>
                      <a:schemeClr val="bg2"/>
                    </a:solidFill>
                  </a:tcPr>
                </a:tc>
                <a:tc>
                  <a:txBody>
                    <a:bodyPr/>
                    <a:lstStyle/>
                    <a:p>
                      <a:pPr algn="ctr">
                        <a:defRPr sz="1100">
                          <a:latin typeface="Nexa Book"/>
                        </a:defRPr>
                      </a:pPr>
                      <a:r>
                        <a:rPr b="1">
                          <a:solidFill>
                            <a:srgbClr val="575555"/>
                          </a:solidFill>
                        </a:rPr>
                        <a:t>Sunscreen Sport Crema</a:t>
                      </a:r>
                    </a:p>
                  </a:txBody>
                  <a:tcPr anchor="ctr">
                    <a:solidFill>
                      <a:schemeClr val="bg2"/>
                    </a:solidFill>
                  </a:tcPr>
                </a:tc>
                <a:tc>
                  <a:txBody>
                    <a:bodyPr/>
                    <a:lstStyle/>
                    <a:p>
                      <a:pPr algn="ctr">
                        <a:defRPr sz="1100">
                          <a:latin typeface="Nexa Book"/>
                        </a:defRPr>
                      </a:pPr>
                      <a:r>
                        <a:rPr b="1">
                          <a:solidFill>
                            <a:srgbClr val="575555"/>
                          </a:solidFill>
                        </a:rPr>
                        <a:t>Sunscreen Sport Liquido</a:t>
                      </a:r>
                    </a:p>
                  </a:txBody>
                  <a:tcPr anchor="ctr">
                    <a:solidFill>
                      <a:schemeClr val="bg2"/>
                    </a:solidFill>
                  </a:tcPr>
                </a:tc>
                <a:tc>
                  <a:txBody>
                    <a:bodyPr/>
                    <a:lstStyle/>
                    <a:p>
                      <a:pPr algn="ctr">
                        <a:defRPr sz="1100">
                          <a:latin typeface="Nexa Book"/>
                        </a:defRPr>
                      </a:pPr>
                      <a:r>
                        <a:rPr b="1">
                          <a:solidFill>
                            <a:srgbClr val="575555"/>
                          </a:solidFill>
                        </a:rPr>
                        <a:t>Sunscreen Sport Locio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17160751"/>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8.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79563220"/>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Crema (3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5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7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89.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9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Fluido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18.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36.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79.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48.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3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17.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4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38.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8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Liquido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7.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9.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Crema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7.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Liquido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78.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8.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etaph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5.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oreal Par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0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28366206"/>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Aceit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8.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48.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9.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86.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Crema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2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Liquido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7.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Ge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5.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Sti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7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Spra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2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Genov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3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85257798"/>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Crema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4.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6.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7.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78.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6.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Sti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99.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09.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6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75946445"/>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Fluido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7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2.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Aceite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65.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93231259"/>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anal Tradic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Crema (3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7.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Crema (2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9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8.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9.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icatric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9.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Liquido (1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9.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Gel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8.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Crema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7.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opperto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70413925"/>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anal Tradic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Liquido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8.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7.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9.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Fluido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14.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opperto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4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Liquido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07.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oreal Par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8.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31767183"/>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Crema (2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9.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0.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0.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Liquido (2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0.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Crema (1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48.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9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6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Gel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Liquido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8.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Crema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94519138"/>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Locion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9.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44.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Fl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7.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96.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0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1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5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9.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75.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6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519.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etaph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3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Liquido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 Par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87.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5.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etaph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Aceit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5.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38.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70239601"/>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Fluido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erum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8.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5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Spra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Ocean Po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6.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48.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Loci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19.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5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63559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Convenience + Farmacias Cad + Hard Discounters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88862613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9799006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onvenience + Farmacias Cad + Hard Discounters | P12M</a:t>
            </a:r>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extLst>
              <p:ext uri="{D42A27DB-BD31-4B8C-83A1-F6EECF244321}">
                <p14:modId xmlns:p14="http://schemas.microsoft.com/office/powerpoint/2010/main" val="276316365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extLst>
              <p:ext uri="{D42A27DB-BD31-4B8C-83A1-F6EECF244321}">
                <p14:modId xmlns:p14="http://schemas.microsoft.com/office/powerpoint/2010/main" val="85131260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defRPr sz="1100">
                          <a:latin typeface="Nexa Book"/>
                        </a:defRPr>
                      </a:pPr>
                      <a:r>
                        <a:rPr b="1">
                          <a:solidFill>
                            <a:srgbClr val="575555"/>
                          </a:solidFill>
                        </a:rPr>
                        <a:t>Sunscreen Sport Roll-On</a:t>
                      </a:r>
                    </a:p>
                  </a:txBody>
                  <a:tcPr anchor="ctr">
                    <a:solidFill>
                      <a:schemeClr val="bg2"/>
                    </a:solidFill>
                  </a:tcPr>
                </a:tc>
                <a:tc>
                  <a:txBody>
                    <a:bodyPr/>
                    <a:lstStyle/>
                    <a:p>
                      <a:pPr algn="ctr">
                        <a:defRPr sz="1100">
                          <a:latin typeface="Nexa Book"/>
                        </a:defRPr>
                      </a:pPr>
                      <a:r>
                        <a:rPr b="1">
                          <a:solidFill>
                            <a:srgbClr val="575555"/>
                          </a:solidFill>
                        </a:rPr>
                        <a:t>Sunscreen Sport Stick</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810959774"/>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Spra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7.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Genov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Crema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Spra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7.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Ocean Po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8.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5.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85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82245082"/>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9.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7.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40.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1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5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23509487"/>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99.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6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65.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26877019"/>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9.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8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6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5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98415075"/>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Sun Care | Canal Tradic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4.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8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27150665"/>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80.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9.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3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73781470"/>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Crema (2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58.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4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7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0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Crema (1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8.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9.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7.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Liquido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9.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Fluido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0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79.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4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8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7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6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8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8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7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Gel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8.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07822296"/>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Liq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35.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5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Gal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5.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Liq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Crema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7.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7.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Locio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9.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bs. Expanscie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9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Sun &amp; Skin Care Resear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Aceit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07.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Crema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2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6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00177312"/>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Sti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00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Spra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60.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Genove La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4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Fluido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5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Loci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Glaxosmithk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1481813"/>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5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4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pra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6.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un &amp; Skin Care Resear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68.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Labs. Expanscie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8.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Spra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4.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Sun &amp; Skin Care Resear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8.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7.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4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471236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nal Tradicional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93951581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22711711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1286727799"/>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858598910"/>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Cosmetics Crema</a:t>
                      </a:r>
                    </a:p>
                  </a:txBody>
                  <a:tcPr anchor="ctr">
                    <a:solidFill>
                      <a:schemeClr val="bg2"/>
                    </a:solidFill>
                  </a:tcPr>
                </a:tc>
                <a:tc>
                  <a:txBody>
                    <a:bodyPr/>
                    <a:lstStyle/>
                    <a:p>
                      <a:pPr algn="ctr">
                        <a:defRPr sz="1100">
                          <a:latin typeface="Nexa Book"/>
                        </a:defRPr>
                      </a:pPr>
                      <a:r>
                        <a:rPr b="1">
                          <a:solidFill>
                            <a:srgbClr val="575555"/>
                          </a:solidFill>
                        </a:rPr>
                        <a:t>Sunscreen Cosmetics Gel</a:t>
                      </a:r>
                    </a:p>
                  </a:txBody>
                  <a:tcPr anchor="ctr">
                    <a:solidFill>
                      <a:schemeClr val="bg2"/>
                    </a:solidFill>
                  </a:tcPr>
                </a:tc>
                <a:tc>
                  <a:txBody>
                    <a:bodyPr/>
                    <a:lstStyle/>
                    <a:p>
                      <a:pPr algn="ctr">
                        <a:defRPr sz="1100">
                          <a:latin typeface="Nexa Book"/>
                        </a:defRPr>
                      </a:pPr>
                      <a:r>
                        <a:rPr b="1">
                          <a:solidFill>
                            <a:srgbClr val="575555"/>
                          </a:solidFill>
                        </a:rPr>
                        <a:t>Sunscreen Cosmetics Liquido</a:t>
                      </a:r>
                    </a:p>
                  </a:txBody>
                  <a:tcPr anchor="ctr">
                    <a:solidFill>
                      <a:schemeClr val="bg2"/>
                    </a:solidFill>
                  </a:tcPr>
                </a:tc>
                <a:tc>
                  <a:txBody>
                    <a:bodyPr/>
                    <a:lstStyle/>
                    <a:p>
                      <a:pPr algn="ctr">
                        <a:defRPr sz="1100">
                          <a:latin typeface="Nexa Book"/>
                        </a:defRPr>
                      </a:pPr>
                      <a:r>
                        <a:rPr b="1">
                          <a:solidFill>
                            <a:srgbClr val="575555"/>
                          </a:solidFill>
                        </a:rPr>
                        <a:t>Sunscreen Cosmetics Locio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787633355"/>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Emulsi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0.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07458636"/>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Crema (2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1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9.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23.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49.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0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Crema (1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55.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Liquido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0.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8.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Fluido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2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2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18.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64.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4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5.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8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9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0.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99.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Gel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9.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41774284"/>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Liq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14.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30.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3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Gal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8.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Liq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Crema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0.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Locio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bs. Expanscie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78.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Sun &amp; Skin Care Resear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Aceit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96.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Crema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77.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92.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68938826"/>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Sti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58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6.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Spra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8.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0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Genove La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3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Fluido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18.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0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Loci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0.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9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Glaxosmithk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3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4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51948340"/>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9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9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pra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un &amp; Skin Care Resear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Labs. Expanscie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9.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Spra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8.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Sun &amp; Skin Care Resear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3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8.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37573145"/>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Crema (3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5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6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7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9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Fluido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18.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36.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79.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48.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3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17.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4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38.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8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Liquido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3.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Crema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8.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7.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4.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Liquido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6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8.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Gal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5.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2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59149008"/>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Aceit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10.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48.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9.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Crema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2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Liquido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7.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Ge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5.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Sti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7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Spra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2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Genove La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3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42119764"/>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Crema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4.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6.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7.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bs. Expanscie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78.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6.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Sti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99.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Glaxosmithk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09.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Labs. Expanscie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6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13349748"/>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Fluido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7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2.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Aceite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65.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13366546"/>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Canal Tradic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Crema (3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7.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Crema (2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9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laxosmithk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8.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9.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Genomma La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9.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Liquido (1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0.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Gel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8.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Crema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7.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ayer Consumer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056973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nal Tradicional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60287693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63825542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1907962179"/>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4088792132"/>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Cosmetics Serum</a:t>
                      </a:r>
                    </a:p>
                  </a:txBody>
                  <a:tcPr anchor="ctr">
                    <a:solidFill>
                      <a:schemeClr val="bg2"/>
                    </a:solidFill>
                  </a:tcPr>
                </a:tc>
                <a:tc>
                  <a:txBody>
                    <a:bodyPr/>
                    <a:lstStyle/>
                    <a:p>
                      <a:pPr algn="ctr">
                        <a:defRPr sz="1100">
                          <a:latin typeface="Nexa Book"/>
                        </a:defRPr>
                      </a:pPr>
                      <a:r>
                        <a:rPr b="1">
                          <a:solidFill>
                            <a:srgbClr val="575555"/>
                          </a:solidFill>
                        </a:rPr>
                        <a:t>Sunscreen Derma Crema</a:t>
                      </a:r>
                    </a:p>
                  </a:txBody>
                  <a:tcPr anchor="ctr">
                    <a:solidFill>
                      <a:schemeClr val="bg2"/>
                    </a:solidFill>
                  </a:tcPr>
                </a:tc>
                <a:tc>
                  <a:txBody>
                    <a:bodyPr/>
                    <a:lstStyle/>
                    <a:p>
                      <a:pPr algn="ctr">
                        <a:defRPr sz="1100">
                          <a:latin typeface="Nexa Book"/>
                        </a:defRPr>
                      </a:pPr>
                      <a:r>
                        <a:rPr b="1">
                          <a:solidFill>
                            <a:srgbClr val="575555"/>
                          </a:solidFill>
                        </a:rPr>
                        <a:t>Sunscreen Derma Fluido</a:t>
                      </a:r>
                    </a:p>
                  </a:txBody>
                  <a:tcPr anchor="ctr">
                    <a:solidFill>
                      <a:schemeClr val="bg2"/>
                    </a:solidFill>
                  </a:tcPr>
                </a:tc>
                <a:tc>
                  <a:txBody>
                    <a:bodyPr/>
                    <a:lstStyle/>
                    <a:p>
                      <a:pPr algn="ctr">
                        <a:defRPr sz="1100">
                          <a:latin typeface="Nexa Book"/>
                        </a:defRPr>
                      </a:pPr>
                      <a:r>
                        <a:rPr b="1">
                          <a:solidFill>
                            <a:srgbClr val="575555"/>
                          </a:solidFill>
                        </a:rPr>
                        <a:t>Sunscreen Derma Ge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608908708"/>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Canal Tradic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Liquido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9.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Fluido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14.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ayer Consumer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4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Liquido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07.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8.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57367742"/>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Crema (2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0.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2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Liquido (2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9.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Crema (1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48.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6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9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6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Gel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Liquido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6.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Crema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00142558"/>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Locion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9.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un &amp; Skin Care Resear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Labs. Expanscie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44.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Fl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7.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96.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0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1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5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9.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75.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67.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519.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al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3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Liquido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1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5.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Gal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laxosmithk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Aceit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5.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25.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68686948"/>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Fluido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erum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8.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5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Spra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un &amp; Skin Care Resear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Labs. Expanscie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6.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48.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Loci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19.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Glaxosmithk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5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3582195"/>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Spra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7.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Genove La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Crema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Spra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7.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Sun &amp; Skin Care Resear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8.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5.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f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85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65329733"/>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31767234"/>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anal Modern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85665645"/>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onvenience + Farmacias Cad + Hard Discounter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38486867"/>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Canal Tradic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86681309"/>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478241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nal Tradicional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56783029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135197662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224593128"/>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99883541"/>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Derma Liquido</a:t>
                      </a:r>
                    </a:p>
                  </a:txBody>
                  <a:tcPr anchor="ctr">
                    <a:solidFill>
                      <a:schemeClr val="bg2"/>
                    </a:solidFill>
                  </a:tcPr>
                </a:tc>
                <a:tc>
                  <a:txBody>
                    <a:bodyPr/>
                    <a:lstStyle/>
                    <a:p>
                      <a:pPr algn="ctr">
                        <a:defRPr sz="1100">
                          <a:latin typeface="Nexa Book"/>
                        </a:defRPr>
                      </a:pPr>
                      <a:r>
                        <a:rPr b="1">
                          <a:solidFill>
                            <a:srgbClr val="575555"/>
                          </a:solidFill>
                        </a:rPr>
                        <a:t>Sunscreen Sport Crema</a:t>
                      </a:r>
                    </a:p>
                  </a:txBody>
                  <a:tcPr anchor="ctr">
                    <a:solidFill>
                      <a:schemeClr val="bg2"/>
                    </a:solidFill>
                  </a:tcPr>
                </a:tc>
                <a:tc>
                  <a:txBody>
                    <a:bodyPr/>
                    <a:lstStyle/>
                    <a:p>
                      <a:pPr algn="ctr">
                        <a:defRPr sz="1100">
                          <a:latin typeface="Nexa Book"/>
                        </a:defRPr>
                      </a:pPr>
                      <a:r>
                        <a:rPr b="1">
                          <a:solidFill>
                            <a:srgbClr val="575555"/>
                          </a:solidFill>
                        </a:rPr>
                        <a:t>Sunscreen Sport Liquido</a:t>
                      </a:r>
                    </a:p>
                  </a:txBody>
                  <a:tcPr anchor="ctr">
                    <a:solidFill>
                      <a:schemeClr val="bg2"/>
                    </a:solidFill>
                  </a:tcPr>
                </a:tc>
                <a:tc>
                  <a:txBody>
                    <a:bodyPr/>
                    <a:lstStyle/>
                    <a:p>
                      <a:pPr algn="ctr">
                        <a:defRPr sz="1100">
                          <a:latin typeface="Nexa Book"/>
                        </a:defRPr>
                      </a:pPr>
                      <a:r>
                        <a:rPr b="1">
                          <a:solidFill>
                            <a:srgbClr val="575555"/>
                          </a:solidFill>
                        </a:rPr>
                        <a:t>Sunscreen Sport Locio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240134172"/>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75699195"/>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Canal Modern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86499845"/>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Convenience + Farmacias Cad + Hard Discounter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81884975"/>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Canal Tradic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87455365"/>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14842343"/>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86562869"/>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Canal Modern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29396399"/>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Convenience + Farmacias Cad + Hard Discounter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56114378"/>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Canal Tradic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88113753"/>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102476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Autos Scanning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03535671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45697147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64685357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380925771"/>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Cosmetics Crema</a:t>
                      </a:r>
                    </a:p>
                  </a:txBody>
                  <a:tcPr anchor="ctr">
                    <a:solidFill>
                      <a:schemeClr val="bg2"/>
                    </a:solidFill>
                  </a:tcPr>
                </a:tc>
                <a:tc>
                  <a:txBody>
                    <a:bodyPr/>
                    <a:lstStyle/>
                    <a:p>
                      <a:pPr algn="ctr">
                        <a:defRPr sz="1100">
                          <a:latin typeface="Nexa Book"/>
                        </a:defRPr>
                      </a:pPr>
                      <a:r>
                        <a:rPr b="1">
                          <a:solidFill>
                            <a:srgbClr val="575555"/>
                          </a:solidFill>
                        </a:rPr>
                        <a:t>Sunscreen Cosmetics Fluido</a:t>
                      </a:r>
                    </a:p>
                  </a:txBody>
                  <a:tcPr anchor="ctr">
                    <a:solidFill>
                      <a:schemeClr val="bg2"/>
                    </a:solidFill>
                  </a:tcPr>
                </a:tc>
                <a:tc>
                  <a:txBody>
                    <a:bodyPr/>
                    <a:lstStyle/>
                    <a:p>
                      <a:pPr algn="ctr">
                        <a:defRPr sz="1100">
                          <a:latin typeface="Nexa Book"/>
                        </a:defRPr>
                      </a:pPr>
                      <a:r>
                        <a:rPr b="1">
                          <a:solidFill>
                            <a:srgbClr val="575555"/>
                          </a:solidFill>
                        </a:rPr>
                        <a:t>Sunscreen Cosmetics Gel</a:t>
                      </a:r>
                    </a:p>
                  </a:txBody>
                  <a:tcPr anchor="ctr">
                    <a:solidFill>
                      <a:schemeClr val="bg2"/>
                    </a:solidFill>
                  </a:tcPr>
                </a:tc>
                <a:tc>
                  <a:txBody>
                    <a:bodyPr/>
                    <a:lstStyle/>
                    <a:p>
                      <a:pPr algn="ctr">
                        <a:defRPr sz="1100">
                          <a:latin typeface="Nexa Book"/>
                        </a:defRPr>
                      </a:pPr>
                      <a:r>
                        <a:rPr b="1">
                          <a:solidFill>
                            <a:srgbClr val="575555"/>
                          </a:solidFill>
                        </a:rPr>
                        <a:t>Sunscreen Cosmetics Liquido</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685787215"/>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74234534"/>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Canal Modern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07922708"/>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Convenience + Farmacias Cad + Hard Discounter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19549267"/>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Canal Tradic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94665692"/>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04160">
                  <a:extLst>
                    <a:ext uri="{9D8B030D-6E8A-4147-A177-3AD203B41FA5}">
                      <a16:colId xmlns:a16="http://schemas.microsoft.com/office/drawing/2014/main" val="2253286919"/>
                    </a:ext>
                  </a:extLst>
                </a:gridCol>
                <a:gridCol w="704160">
                  <a:extLst>
                    <a:ext uri="{9D8B030D-6E8A-4147-A177-3AD203B41FA5}">
                      <a16:colId xmlns:a16="http://schemas.microsoft.com/office/drawing/2014/main" val="154020430"/>
                    </a:ext>
                  </a:extLst>
                </a:gridCol>
                <a:gridCol w="704160">
                  <a:extLst>
                    <a:ext uri="{9D8B030D-6E8A-4147-A177-3AD203B41FA5}">
                      <a16:colId xmlns:a16="http://schemas.microsoft.com/office/drawing/2014/main" val="3928813835"/>
                    </a:ext>
                  </a:extLst>
                </a:gridCol>
                <a:gridCol w="704160">
                  <a:extLst>
                    <a:ext uri="{9D8B030D-6E8A-4147-A177-3AD203B41FA5}">
                      <a16:colId xmlns:a16="http://schemas.microsoft.com/office/drawing/2014/main" val="4099274801"/>
                    </a:ext>
                  </a:extLst>
                </a:gridCol>
                <a:gridCol w="704160">
                  <a:extLst>
                    <a:ext uri="{9D8B030D-6E8A-4147-A177-3AD203B41FA5}">
                      <a16:colId xmlns:a16="http://schemas.microsoft.com/office/drawing/2014/main" val="3203434082"/>
                    </a:ext>
                  </a:extLst>
                </a:gridCol>
                <a:gridCol w="704160">
                  <a:extLst>
                    <a:ext uri="{9D8B030D-6E8A-4147-A177-3AD203B41FA5}">
                      <a16:colId xmlns:a16="http://schemas.microsoft.com/office/drawing/2014/main" val="1306444463"/>
                    </a:ext>
                  </a:extLst>
                </a:gridCol>
                <a:gridCol w="704160">
                  <a:extLst>
                    <a:ext uri="{9D8B030D-6E8A-4147-A177-3AD203B41FA5}">
                      <a16:colId xmlns:a16="http://schemas.microsoft.com/office/drawing/2014/main" val="2052677327"/>
                    </a:ext>
                  </a:extLst>
                </a:gridCol>
                <a:gridCol w="704160">
                  <a:extLst>
                    <a:ext uri="{9D8B030D-6E8A-4147-A177-3AD203B41FA5}">
                      <a16:colId xmlns:a16="http://schemas.microsoft.com/office/drawing/2014/main" val="1311887603"/>
                    </a:ext>
                  </a:extLst>
                </a:gridCol>
                <a:gridCol w="704160">
                  <a:extLst>
                    <a:ext uri="{9D8B030D-6E8A-4147-A177-3AD203B41FA5}">
                      <a16:colId xmlns:a16="http://schemas.microsoft.com/office/drawing/2014/main" val="2227414998"/>
                    </a:ext>
                  </a:extLst>
                </a:gridCol>
                <a:gridCol w="704160">
                  <a:extLst>
                    <a:ext uri="{9D8B030D-6E8A-4147-A177-3AD203B41FA5}">
                      <a16:colId xmlns:a16="http://schemas.microsoft.com/office/drawing/2014/main" val="1431050579"/>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04165">
                  <a:extLst>
                    <a:ext uri="{9D8B030D-6E8A-4147-A177-3AD203B41FA5}">
                      <a16:colId xmlns:a16="http://schemas.microsoft.com/office/drawing/2014/main" val="2253286919"/>
                    </a:ext>
                  </a:extLst>
                </a:gridCol>
                <a:gridCol w="704165">
                  <a:extLst>
                    <a:ext uri="{9D8B030D-6E8A-4147-A177-3AD203B41FA5}">
                      <a16:colId xmlns:a16="http://schemas.microsoft.com/office/drawing/2014/main" val="154020430"/>
                    </a:ext>
                  </a:extLst>
                </a:gridCol>
                <a:gridCol w="704165">
                  <a:extLst>
                    <a:ext uri="{9D8B030D-6E8A-4147-A177-3AD203B41FA5}">
                      <a16:colId xmlns:a16="http://schemas.microsoft.com/office/drawing/2014/main" val="3928813835"/>
                    </a:ext>
                  </a:extLst>
                </a:gridCol>
                <a:gridCol w="704165">
                  <a:extLst>
                    <a:ext uri="{9D8B030D-6E8A-4147-A177-3AD203B41FA5}">
                      <a16:colId xmlns:a16="http://schemas.microsoft.com/office/drawing/2014/main" val="4099274801"/>
                    </a:ext>
                  </a:extLst>
                </a:gridCol>
                <a:gridCol w="704165">
                  <a:extLst>
                    <a:ext uri="{9D8B030D-6E8A-4147-A177-3AD203B41FA5}">
                      <a16:colId xmlns:a16="http://schemas.microsoft.com/office/drawing/2014/main" val="3203434082"/>
                    </a:ext>
                  </a:extLst>
                </a:gridCol>
                <a:gridCol w="704165">
                  <a:extLst>
                    <a:ext uri="{9D8B030D-6E8A-4147-A177-3AD203B41FA5}">
                      <a16:colId xmlns:a16="http://schemas.microsoft.com/office/drawing/2014/main" val="1306444463"/>
                    </a:ext>
                  </a:extLst>
                </a:gridCol>
                <a:gridCol w="704165">
                  <a:extLst>
                    <a:ext uri="{9D8B030D-6E8A-4147-A177-3AD203B41FA5}">
                      <a16:colId xmlns:a16="http://schemas.microsoft.com/office/drawing/2014/main" val="2052677327"/>
                    </a:ext>
                  </a:extLst>
                </a:gridCol>
                <a:gridCol w="704165">
                  <a:extLst>
                    <a:ext uri="{9D8B030D-6E8A-4147-A177-3AD203B41FA5}">
                      <a16:colId xmlns:a16="http://schemas.microsoft.com/office/drawing/2014/main" val="1311887603"/>
                    </a:ext>
                  </a:extLst>
                </a:gridCol>
                <a:gridCol w="704165">
                  <a:extLst>
                    <a:ext uri="{9D8B030D-6E8A-4147-A177-3AD203B41FA5}">
                      <a16:colId xmlns:a16="http://schemas.microsoft.com/office/drawing/2014/main" val="2227414998"/>
                    </a:ext>
                  </a:extLst>
                </a:gridCol>
                <a:gridCol w="704165">
                  <a:extLst>
                    <a:ext uri="{9D8B030D-6E8A-4147-A177-3AD203B41FA5}">
                      <a16:colId xmlns:a16="http://schemas.microsoft.com/office/drawing/2014/main" val="1431050579"/>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56834535"/>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68725732"/>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Canal Modern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36346212"/>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Convenience + Farmacias Cad + Hard Discounter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02803482"/>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Canal Tradic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70509988"/>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732608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Autos Scanning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38827939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470185146"/>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949759919"/>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086568415"/>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Cosmetics Locion</a:t>
                      </a:r>
                    </a:p>
                  </a:txBody>
                  <a:tcPr anchor="ctr">
                    <a:solidFill>
                      <a:schemeClr val="bg2"/>
                    </a:solidFill>
                  </a:tcPr>
                </a:tc>
                <a:tc>
                  <a:txBody>
                    <a:bodyPr/>
                    <a:lstStyle/>
                    <a:p>
                      <a:pPr algn="ctr">
                        <a:defRPr sz="1100">
                          <a:latin typeface="Nexa Book"/>
                        </a:defRPr>
                      </a:pPr>
                      <a:r>
                        <a:rPr b="1">
                          <a:solidFill>
                            <a:srgbClr val="575555"/>
                          </a:solidFill>
                        </a:rPr>
                        <a:t>Sunscreen Cosmetics Roll-On</a:t>
                      </a:r>
                    </a:p>
                  </a:txBody>
                  <a:tcPr anchor="ctr">
                    <a:solidFill>
                      <a:schemeClr val="bg2"/>
                    </a:solidFill>
                  </a:tcPr>
                </a:tc>
                <a:tc>
                  <a:txBody>
                    <a:bodyPr/>
                    <a:lstStyle/>
                    <a:p>
                      <a:pPr algn="ctr">
                        <a:defRPr sz="1100">
                          <a:latin typeface="Nexa Book"/>
                        </a:defRPr>
                      </a:pPr>
                      <a:r>
                        <a:rPr b="1">
                          <a:solidFill>
                            <a:srgbClr val="575555"/>
                          </a:solidFill>
                        </a:rPr>
                        <a:t>Sunscreen Cosmetics Serum</a:t>
                      </a:r>
                    </a:p>
                  </a:txBody>
                  <a:tcPr anchor="ctr">
                    <a:solidFill>
                      <a:schemeClr val="bg2"/>
                    </a:solidFill>
                  </a:tcPr>
                </a:tc>
                <a:tc>
                  <a:txBody>
                    <a:bodyPr/>
                    <a:lstStyle/>
                    <a:p>
                      <a:pPr algn="ctr">
                        <a:defRPr sz="1100">
                          <a:latin typeface="Nexa Book"/>
                        </a:defRPr>
                      </a:pPr>
                      <a:r>
                        <a:rPr b="1">
                          <a:solidFill>
                            <a:srgbClr val="575555"/>
                          </a:solidFill>
                        </a:rPr>
                        <a:t>Sunscreen Cosmetics Spray</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613030491"/>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42546071"/>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Canal Modern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41785425"/>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Convenience + Farmacias Cad + Hard Discounter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55381598"/>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Canal Tradic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00905108"/>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1261726"/>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24107752"/>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Canal Modern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54072048"/>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Convenience + Farmacias Cad + Hard Discounter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62224277"/>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Canal Tradic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01887104"/>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33613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Autos Scanning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7772879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1543775059"/>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18216967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128683493"/>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Cosmetics Stick</a:t>
                      </a:r>
                    </a:p>
                  </a:txBody>
                  <a:tcPr anchor="ctr">
                    <a:solidFill>
                      <a:schemeClr val="bg2"/>
                    </a:solidFill>
                  </a:tcPr>
                </a:tc>
                <a:tc>
                  <a:txBody>
                    <a:bodyPr/>
                    <a:lstStyle/>
                    <a:p>
                      <a:pPr algn="ctr">
                        <a:defRPr sz="1100">
                          <a:latin typeface="Nexa Book"/>
                        </a:defRPr>
                      </a:pPr>
                      <a:r>
                        <a:rPr b="1">
                          <a:solidFill>
                            <a:srgbClr val="575555"/>
                          </a:solidFill>
                        </a:rPr>
                        <a:t>Sunscreen Derma Aceite</a:t>
                      </a:r>
                    </a:p>
                  </a:txBody>
                  <a:tcPr anchor="ctr">
                    <a:solidFill>
                      <a:schemeClr val="bg2"/>
                    </a:solidFill>
                  </a:tcPr>
                </a:tc>
                <a:tc>
                  <a:txBody>
                    <a:bodyPr/>
                    <a:lstStyle/>
                    <a:p>
                      <a:pPr algn="ctr">
                        <a:defRPr sz="1100">
                          <a:latin typeface="Nexa Book"/>
                        </a:defRPr>
                      </a:pPr>
                      <a:r>
                        <a:rPr b="1">
                          <a:solidFill>
                            <a:srgbClr val="575555"/>
                          </a:solidFill>
                        </a:rPr>
                        <a:t>Sunscreen Derma Crema</a:t>
                      </a:r>
                    </a:p>
                  </a:txBody>
                  <a:tcPr anchor="ctr">
                    <a:solidFill>
                      <a:schemeClr val="bg2"/>
                    </a:solidFill>
                  </a:tcPr>
                </a:tc>
                <a:tc>
                  <a:txBody>
                    <a:bodyPr/>
                    <a:lstStyle/>
                    <a:p>
                      <a:pPr algn="ctr">
                        <a:defRPr sz="1100">
                          <a:latin typeface="Nexa Book"/>
                        </a:defRPr>
                      </a:pPr>
                      <a:r>
                        <a:rPr b="1">
                          <a:solidFill>
                            <a:srgbClr val="575555"/>
                          </a:solidFill>
                        </a:rPr>
                        <a:t>Sunscreen Derma Fluido</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993155836"/>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79259912"/>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Canal Modern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92155248"/>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Convenience + Farmacias Cad + Hard Discounter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19769195"/>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Canal Tradic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90101485"/>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07703424"/>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28177899"/>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Canal Modern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10354020"/>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Convenience + Farmacias Cad + Hard Discounter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65773421"/>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Canal Tradic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35380744"/>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789910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Autos Scanning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66305299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424150975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70096434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771079998"/>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Derma Gel</a:t>
                      </a:r>
                    </a:p>
                  </a:txBody>
                  <a:tcPr anchor="ctr">
                    <a:solidFill>
                      <a:schemeClr val="bg2"/>
                    </a:solidFill>
                  </a:tcPr>
                </a:tc>
                <a:tc>
                  <a:txBody>
                    <a:bodyPr/>
                    <a:lstStyle/>
                    <a:p>
                      <a:pPr algn="ctr">
                        <a:defRPr sz="1100">
                          <a:latin typeface="Nexa Book"/>
                        </a:defRPr>
                      </a:pPr>
                      <a:r>
                        <a:rPr b="1">
                          <a:solidFill>
                            <a:srgbClr val="575555"/>
                          </a:solidFill>
                        </a:rPr>
                        <a:t>Sunscreen Derma Gel-Crema</a:t>
                      </a:r>
                    </a:p>
                  </a:txBody>
                  <a:tcPr anchor="ctr">
                    <a:solidFill>
                      <a:schemeClr val="bg2"/>
                    </a:solidFill>
                  </a:tcPr>
                </a:tc>
                <a:tc>
                  <a:txBody>
                    <a:bodyPr/>
                    <a:lstStyle/>
                    <a:p>
                      <a:pPr algn="ctr">
                        <a:defRPr sz="1100">
                          <a:latin typeface="Nexa Book"/>
                        </a:defRPr>
                      </a:pPr>
                      <a:r>
                        <a:rPr b="1">
                          <a:solidFill>
                            <a:srgbClr val="575555"/>
                          </a:solidFill>
                        </a:rPr>
                        <a:t>Sunscreen Derma Liquido</a:t>
                      </a:r>
                    </a:p>
                  </a:txBody>
                  <a:tcPr anchor="ctr">
                    <a:solidFill>
                      <a:schemeClr val="bg2"/>
                    </a:solidFill>
                  </a:tcPr>
                </a:tc>
                <a:tc>
                  <a:txBody>
                    <a:bodyPr/>
                    <a:lstStyle/>
                    <a:p>
                      <a:pPr algn="ctr">
                        <a:defRPr sz="1100">
                          <a:latin typeface="Nexa Book"/>
                        </a:defRPr>
                      </a:pPr>
                      <a:r>
                        <a:rPr b="1">
                          <a:solidFill>
                            <a:srgbClr val="575555"/>
                          </a:solidFill>
                        </a:rPr>
                        <a:t>Sunscreen Derma Locio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428170252"/>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53325998"/>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Canal Modern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47977919"/>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Convenience + Farmacias Cad + Hard Discounter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24748159"/>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Canal Tradic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50682666"/>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537820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Autos Scanning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20967623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156529222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4127364328"/>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1672108712"/>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Derma Spray</a:t>
                      </a:r>
                    </a:p>
                  </a:txBody>
                  <a:tcPr anchor="ctr">
                    <a:solidFill>
                      <a:schemeClr val="bg2"/>
                    </a:solidFill>
                  </a:tcPr>
                </a:tc>
                <a:tc>
                  <a:txBody>
                    <a:bodyPr/>
                    <a:lstStyle/>
                    <a:p>
                      <a:pPr algn="ctr">
                        <a:defRPr sz="1100">
                          <a:latin typeface="Nexa Book"/>
                        </a:defRPr>
                      </a:pPr>
                      <a:r>
                        <a:rPr b="1">
                          <a:solidFill>
                            <a:srgbClr val="575555"/>
                          </a:solidFill>
                        </a:rPr>
                        <a:t>Sunscreen Derma Stick</a:t>
                      </a:r>
                    </a:p>
                  </a:txBody>
                  <a:tcPr anchor="ctr">
                    <a:solidFill>
                      <a:schemeClr val="bg2"/>
                    </a:solidFill>
                  </a:tcPr>
                </a:tc>
                <a:tc>
                  <a:txBody>
                    <a:bodyPr/>
                    <a:lstStyle/>
                    <a:p>
                      <a:pPr algn="ctr">
                        <a:defRPr sz="1100">
                          <a:latin typeface="Nexa Book"/>
                        </a:defRPr>
                      </a:pPr>
                      <a:r>
                        <a:rPr b="1">
                          <a:solidFill>
                            <a:srgbClr val="575555"/>
                          </a:solidFill>
                        </a:rPr>
                        <a:t>Sunscreen Sport Crema</a:t>
                      </a:r>
                    </a:p>
                  </a:txBody>
                  <a:tcPr anchor="ctr">
                    <a:solidFill>
                      <a:schemeClr val="bg2"/>
                    </a:solidFill>
                  </a:tcPr>
                </a:tc>
                <a:tc>
                  <a:txBody>
                    <a:bodyPr/>
                    <a:lstStyle/>
                    <a:p>
                      <a:pPr algn="ctr">
                        <a:defRPr sz="1100">
                          <a:latin typeface="Nexa Book"/>
                        </a:defRPr>
                      </a:pPr>
                      <a:r>
                        <a:rPr b="1">
                          <a:solidFill>
                            <a:srgbClr val="575555"/>
                          </a:solidFill>
                        </a:rPr>
                        <a:t>Sunscreen Sport Liquido</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0382002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Autos Scanning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64978256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79327270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294511690"/>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899655025"/>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 Sport Locion</a:t>
                      </a:r>
                    </a:p>
                  </a:txBody>
                  <a:tcPr anchor="ctr">
                    <a:solidFill>
                      <a:schemeClr val="bg2"/>
                    </a:solidFill>
                  </a:tcPr>
                </a:tc>
                <a:tc>
                  <a:txBody>
                    <a:bodyPr/>
                    <a:lstStyle/>
                    <a:p>
                      <a:pPr algn="ctr">
                        <a:defRPr sz="1100">
                          <a:latin typeface="Nexa Book"/>
                        </a:defRPr>
                      </a:pPr>
                      <a:r>
                        <a:rPr b="1">
                          <a:solidFill>
                            <a:srgbClr val="575555"/>
                          </a:solidFill>
                        </a:rPr>
                        <a:t>Sunscreen Sport Roll-On</a:t>
                      </a:r>
                    </a:p>
                  </a:txBody>
                  <a:tcPr anchor="ctr">
                    <a:solidFill>
                      <a:schemeClr val="bg2"/>
                    </a:solidFill>
                  </a:tcPr>
                </a:tc>
                <a:tc>
                  <a:txBody>
                    <a:bodyPr/>
                    <a:lstStyle/>
                    <a:p>
                      <a:pPr algn="ctr">
                        <a:defRPr sz="1100">
                          <a:latin typeface="Nexa Book"/>
                        </a:defRPr>
                      </a:pPr>
                      <a:r>
                        <a:rPr b="1">
                          <a:solidFill>
                            <a:srgbClr val="575555"/>
                          </a:solidFill>
                        </a:rPr>
                        <a:t>Sunscreen Sport Spray</a:t>
                      </a:r>
                    </a:p>
                  </a:txBody>
                  <a:tcPr anchor="ctr">
                    <a:solidFill>
                      <a:schemeClr val="bg2"/>
                    </a:solidFill>
                  </a:tcPr>
                </a:tc>
                <a:tc>
                  <a:txBody>
                    <a:bodyPr/>
                    <a:lstStyle/>
                    <a:p>
                      <a:pPr algn="ctr">
                        <a:defRPr sz="1100">
                          <a:latin typeface="Nexa Book"/>
                        </a:defRPr>
                      </a:pPr>
                      <a:r>
                        <a:rPr b="1">
                          <a:solidFill>
                            <a:srgbClr val="575555"/>
                          </a:solidFill>
                        </a:rPr>
                        <a:t>Sunscreen Sport Stick</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7537210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Canal Tradicional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76509725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28006524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359754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848462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Canal Modern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61373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5201280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Convenience + Farmacias Cad + Hard Discounte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536158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890839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Canal Tradic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644292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600407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674974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232492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668229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7535151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955817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877958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938818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0162356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990430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8779515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123512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878608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Autos Scanning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412759254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65180804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Cosmetics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262361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497929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Cosmetics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40987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5313548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Cosmetics Emuls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483644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372245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Cosmetics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706169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836814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Cosmetics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631055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5708331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Cosmetics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002353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1082099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Cosmetics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750822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2515235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Cosmetics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975208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8235511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Cosmetics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933337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6261758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Cosmetics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626384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753004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ational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49106337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54909446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Cosmetics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317350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7510570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Derma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354052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23775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Derma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113027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5221014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Derma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219069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797585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Derma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346043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9329397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Derma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960176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9886475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Derma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415070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0831315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Derma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930081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3453496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Derma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698782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8260634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Derma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751284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550690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Canal Moderno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41909629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87128404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Sport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273778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792315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Sport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944293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1298969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Sport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022675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925552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Sport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186393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4305638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Sport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9621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6385211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Sport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830941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934871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Cosmetics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246241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0785313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Cosmetics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26488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3105749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Cosmetics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479295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899255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Cosmetics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432931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614801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Convenience + Farmacias Cad + Hard Discounters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51039377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96709916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Cosmetics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85741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9309406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Cosmetics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176528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5901408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Cosmetics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2662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3271013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Cosmetics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410342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7759814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Cosmetics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906261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7936443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Cosmetics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109120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5886535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Derma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707431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7199975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Derma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133617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1582322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Derma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498785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0255757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Derma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663494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289004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Canal Tradicional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37677692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84300909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Derma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98128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6296115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Derma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535452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5214404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Derma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727482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6590747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Derma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915939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623038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Derma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95384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1016740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Sport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812960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2169380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Sport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730034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0814362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Sport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227751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562250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Sport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144857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5542880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Sport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391540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966652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86</TotalTime>
  <Words>39791</Words>
  <Application>Microsoft Office PowerPoint</Application>
  <PresentationFormat>On-screen Show (16:9)</PresentationFormat>
  <Paragraphs>11383</Paragraphs>
  <Slides>374</Slides>
  <Notes>9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74</vt:i4>
      </vt:variant>
    </vt:vector>
  </HeadingPairs>
  <TitlesOfParts>
    <vt:vector size="384"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1</cp:revision>
  <dcterms:created xsi:type="dcterms:W3CDTF">2024-07-05T14:56:51Z</dcterms:created>
  <dcterms:modified xsi:type="dcterms:W3CDTF">2025-07-02T16:23: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